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tags/tag266.xml" ContentType="application/vnd.openxmlformats-officedocument.presentationml.tags+xml"/>
  <Override PartName="/ppt/notesSlides/notesSlide10.xml" ContentType="application/vnd.openxmlformats-officedocument.presentationml.notesSlide+xml"/>
  <Override PartName="/ppt/tags/tag267.xml" ContentType="application/vnd.openxmlformats-officedocument.presentationml.tags+xml"/>
  <Override PartName="/ppt/notesSlides/notesSlide11.xml" ContentType="application/vnd.openxmlformats-officedocument.presentationml.notesSlide+xml"/>
  <Override PartName="/ppt/tags/tag268.xml" ContentType="application/vnd.openxmlformats-officedocument.presentationml.tags+xml"/>
  <Override PartName="/ppt/notesSlides/notesSlide12.xml" ContentType="application/vnd.openxmlformats-officedocument.presentationml.notesSlide+xml"/>
  <Override PartName="/ppt/tags/tag269.xml" ContentType="application/vnd.openxmlformats-officedocument.presentationml.tags+xml"/>
  <Override PartName="/ppt/notesSlides/notesSlide13.xml" ContentType="application/vnd.openxmlformats-officedocument.presentationml.notesSlide+xml"/>
  <Override PartName="/ppt/tags/tag270.xml" ContentType="application/vnd.openxmlformats-officedocument.presentationml.tags+xml"/>
  <Override PartName="/ppt/notesSlides/notesSlide14.xml" ContentType="application/vnd.openxmlformats-officedocument.presentationml.notesSlide+xml"/>
  <Override PartName="/ppt/tags/tag271.xml" ContentType="application/vnd.openxmlformats-officedocument.presentationml.tags+xml"/>
  <Override PartName="/ppt/notesSlides/notesSlide15.xml" ContentType="application/vnd.openxmlformats-officedocument.presentationml.notesSlide+xml"/>
  <Override PartName="/ppt/tags/tag272.xml" ContentType="application/vnd.openxmlformats-officedocument.presentationml.tags+xml"/>
  <Override PartName="/ppt/notesSlides/notesSlide16.xml" ContentType="application/vnd.openxmlformats-officedocument.presentationml.notesSlide+xml"/>
  <Override PartName="/ppt/tags/tag273.xml" ContentType="application/vnd.openxmlformats-officedocument.presentationml.tags+xml"/>
  <Override PartName="/ppt/notesSlides/notesSlide17.xml" ContentType="application/vnd.openxmlformats-officedocument.presentationml.notesSlide+xml"/>
  <Override PartName="/ppt/tags/tag274.xml" ContentType="application/vnd.openxmlformats-officedocument.presentationml.tags+xml"/>
  <Override PartName="/ppt/notesSlides/notesSlide18.xml" ContentType="application/vnd.openxmlformats-officedocument.presentationml.notesSlide+xml"/>
  <Override PartName="/ppt/tags/tag275.xml" ContentType="application/vnd.openxmlformats-officedocument.presentationml.tags+xml"/>
  <Override PartName="/ppt/notesSlides/notesSlide19.xml" ContentType="application/vnd.openxmlformats-officedocument.presentationml.notesSlide+xml"/>
  <Override PartName="/ppt/tags/tag276.xml" ContentType="application/vnd.openxmlformats-officedocument.presentationml.tags+xml"/>
  <Override PartName="/ppt/notesSlides/notesSlide20.xml" ContentType="application/vnd.openxmlformats-officedocument.presentationml.notesSlide+xml"/>
  <Override PartName="/ppt/tags/tag277.xml" ContentType="application/vnd.openxmlformats-officedocument.presentationml.tags+xml"/>
  <Override PartName="/ppt/notesSlides/notesSlide21.xml" ContentType="application/vnd.openxmlformats-officedocument.presentationml.notesSlide+xml"/>
  <Override PartName="/ppt/tags/tag278.xml" ContentType="application/vnd.openxmlformats-officedocument.presentationml.tags+xml"/>
  <Override PartName="/ppt/notesSlides/notesSlide22.xml" ContentType="application/vnd.openxmlformats-officedocument.presentationml.notesSlide+xml"/>
  <Override PartName="/ppt/tags/tag279.xml" ContentType="application/vnd.openxmlformats-officedocument.presentationml.tags+xml"/>
  <Override PartName="/ppt/notesSlides/notesSlide23.xml" ContentType="application/vnd.openxmlformats-officedocument.presentationml.notesSlide+xml"/>
  <Override PartName="/ppt/tags/tag280.xml" ContentType="application/vnd.openxmlformats-officedocument.presentationml.tags+xml"/>
  <Override PartName="/ppt/notesSlides/notesSlide24.xml" ContentType="application/vnd.openxmlformats-officedocument.presentationml.notesSlide+xml"/>
  <Override PartName="/ppt/tags/tag281.xml" ContentType="application/vnd.openxmlformats-officedocument.presentationml.tags+xml"/>
  <Override PartName="/ppt/notesSlides/notesSlide25.xml" ContentType="application/vnd.openxmlformats-officedocument.presentationml.notesSlide+xml"/>
  <Override PartName="/ppt/tags/tag282.xml" ContentType="application/vnd.openxmlformats-officedocument.presentationml.tags+xml"/>
  <Override PartName="/ppt/notesSlides/notesSlide26.xml" ContentType="application/vnd.openxmlformats-officedocument.presentationml.notesSlide+xml"/>
  <Override PartName="/ppt/tags/tag283.xml" ContentType="application/vnd.openxmlformats-officedocument.presentationml.tags+xml"/>
  <Override PartName="/ppt/notesSlides/notesSlide27.xml" ContentType="application/vnd.openxmlformats-officedocument.presentationml.notesSlide+xml"/>
  <Override PartName="/ppt/tags/tag284.xml" ContentType="application/vnd.openxmlformats-officedocument.presentationml.tags+xml"/>
  <Override PartName="/ppt/notesSlides/notesSlide28.xml" ContentType="application/vnd.openxmlformats-officedocument.presentationml.notesSlide+xml"/>
  <Override PartName="/ppt/tags/tag285.xml" ContentType="application/vnd.openxmlformats-officedocument.presentationml.tags+xml"/>
  <Override PartName="/ppt/notesSlides/notesSlide29.xml" ContentType="application/vnd.openxmlformats-officedocument.presentationml.notesSlide+xml"/>
  <Override PartName="/ppt/tags/tag286.xml" ContentType="application/vnd.openxmlformats-officedocument.presentationml.tags+xml"/>
  <Override PartName="/ppt/notesSlides/notesSlide30.xml" ContentType="application/vnd.openxmlformats-officedocument.presentationml.notesSlide+xml"/>
  <Override PartName="/ppt/tags/tag287.xml" ContentType="application/vnd.openxmlformats-officedocument.presentationml.tags+xml"/>
  <Override PartName="/ppt/notesSlides/notesSlide31.xml" ContentType="application/vnd.openxmlformats-officedocument.presentationml.notesSlide+xml"/>
  <Override PartName="/ppt/tags/tag288.xml" ContentType="application/vnd.openxmlformats-officedocument.presentationml.tags+xml"/>
  <Override PartName="/ppt/notesSlides/notesSlide32.xml" ContentType="application/vnd.openxmlformats-officedocument.presentationml.notesSlide+xml"/>
  <Override PartName="/ppt/tags/tag289.xml" ContentType="application/vnd.openxmlformats-officedocument.presentationml.tags+xml"/>
  <Override PartName="/ppt/notesSlides/notesSlide33.xml" ContentType="application/vnd.openxmlformats-officedocument.presentationml.notesSlide+xml"/>
  <Override PartName="/ppt/tags/tag290.xml" ContentType="application/vnd.openxmlformats-officedocument.presentationml.tags+xml"/>
  <Override PartName="/ppt/notesSlides/notesSlide34.xml" ContentType="application/vnd.openxmlformats-officedocument.presentationml.notesSlide+xml"/>
  <Override PartName="/ppt/tags/tag291.xml" ContentType="application/vnd.openxmlformats-officedocument.presentationml.tags+xml"/>
  <Override PartName="/ppt/notesSlides/notesSlide35.xml" ContentType="application/vnd.openxmlformats-officedocument.presentationml.notesSlide+xml"/>
  <Override PartName="/ppt/tags/tag292.xml" ContentType="application/vnd.openxmlformats-officedocument.presentationml.tags+xml"/>
  <Override PartName="/ppt/notesSlides/notesSlide36.xml" ContentType="application/vnd.openxmlformats-officedocument.presentationml.notesSlide+xml"/>
  <Override PartName="/ppt/tags/tag293.xml" ContentType="application/vnd.openxmlformats-officedocument.presentationml.tags+xml"/>
  <Override PartName="/ppt/notesSlides/notesSlide37.xml" ContentType="application/vnd.openxmlformats-officedocument.presentationml.notesSlide+xml"/>
  <Override PartName="/ppt/tags/tag294.xml" ContentType="application/vnd.openxmlformats-officedocument.presentationml.tags+xml"/>
  <Override PartName="/ppt/notesSlides/notesSlide3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94"/>
  </p:notesMasterIdLst>
  <p:handoutMasterIdLst>
    <p:handoutMasterId r:id="rId95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2147483542" r:id="rId62"/>
    <p:sldId id="2147483543" r:id="rId63"/>
    <p:sldId id="301" r:id="rId64"/>
    <p:sldId id="2147483514" r:id="rId65"/>
    <p:sldId id="2147483511" r:id="rId66"/>
    <p:sldId id="2147483515" r:id="rId67"/>
    <p:sldId id="2147483516" r:id="rId68"/>
    <p:sldId id="2147483517" r:id="rId69"/>
    <p:sldId id="2147483518" r:id="rId70"/>
    <p:sldId id="2147483519" r:id="rId71"/>
    <p:sldId id="2147483520" r:id="rId72"/>
    <p:sldId id="2147483521" r:id="rId73"/>
    <p:sldId id="2147483522" r:id="rId74"/>
    <p:sldId id="2147483523" r:id="rId75"/>
    <p:sldId id="2147483524" r:id="rId76"/>
    <p:sldId id="2147483525" r:id="rId77"/>
    <p:sldId id="2147483526" r:id="rId78"/>
    <p:sldId id="2147483527" r:id="rId79"/>
    <p:sldId id="2147483528" r:id="rId80"/>
    <p:sldId id="2147483529" r:id="rId81"/>
    <p:sldId id="2147483530" r:id="rId82"/>
    <p:sldId id="2147483531" r:id="rId83"/>
    <p:sldId id="2147483532" r:id="rId84"/>
    <p:sldId id="2147483533" r:id="rId85"/>
    <p:sldId id="2147483534" r:id="rId86"/>
    <p:sldId id="2147483535" r:id="rId87"/>
    <p:sldId id="2147483536" r:id="rId88"/>
    <p:sldId id="2147483537" r:id="rId89"/>
    <p:sldId id="2147483538" r:id="rId90"/>
    <p:sldId id="2147483539" r:id="rId91"/>
    <p:sldId id="2147483540" r:id="rId92"/>
    <p:sldId id="2147483541" r:id="rId93"/>
  </p:sldIdLst>
  <p:sldSz cx="12195175" cy="6858000"/>
  <p:notesSz cx="6858000" cy="9144000"/>
  <p:embeddedFontLst>
    <p:embeddedFont>
      <p:font typeface="72 Brand" panose="020B0504030603020204"/>
      <p:regular r:id="rId96"/>
      <p:bold r:id="rId97"/>
      <p:italic r:id="rId98"/>
      <p:boldItalic r:id="rId99"/>
    </p:embeddedFont>
    <p:embeddedFont>
      <p:font typeface="72 Brand Medium" panose="020B0604030603020204" pitchFamily="34" charset="0"/>
      <p:regular r:id="rId100"/>
      <p:bold r:id="rId101"/>
      <p:italic r:id="rId102"/>
      <p:boldItalic r:id="rId103"/>
    </p:embeddedFont>
    <p:embeddedFont>
      <p:font typeface="Arial Unicode MS" panose="020B0604020202020204" pitchFamily="34" charset="-128"/>
      <p:regular r:id="rId104"/>
      <p:bold r:id="rId105"/>
    </p:embeddedFont>
    <p:embeddedFont>
      <p:font typeface="Consolas" panose="020B0609020204030204" pitchFamily="49" charset="0"/>
      <p:regular r:id="rId106"/>
      <p:bold r:id="rId107"/>
      <p:italic r:id="rId108"/>
      <p:boldItalic r:id="rId109"/>
    </p:embeddedFont>
    <p:embeddedFont>
      <p:font typeface="Graphik Light" panose="020F0502020204030204" pitchFamily="34" charset="0"/>
      <p:regular r:id="rId110"/>
      <p:bold r:id="rId111"/>
      <p:italic r:id="rId112"/>
      <p:boldItalic r:id="rId113"/>
    </p:embeddedFont>
    <p:embeddedFont>
      <p:font typeface="Roboto" panose="02000000000000000000" pitchFamily="2" charset="0"/>
      <p:regular r:id="rId114"/>
      <p:bold r:id="rId115"/>
      <p:italic r:id="rId116"/>
      <p:boldItalic r:id="rId117"/>
    </p:embeddedFont>
    <p:embeddedFont>
      <p:font typeface="Segoe UI" panose="020B0502040204020203" pitchFamily="34" charset="0"/>
      <p:regular r:id="rId118"/>
      <p:bold r:id="rId119"/>
      <p:italic r:id="rId120"/>
      <p:boldItalic r:id="rId121"/>
    </p:embeddedFont>
  </p:embeddedFontLst>
  <p:custDataLst>
    <p:tags r:id="rId122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2147483542"/>
            <p14:sldId id="2147483543"/>
            <p14:sldId id="301"/>
            <p14:sldId id="2147483514"/>
            <p14:sldId id="2147483511"/>
            <p14:sldId id="2147483515"/>
            <p14:sldId id="2147483516"/>
            <p14:sldId id="2147483517"/>
            <p14:sldId id="2147483518"/>
            <p14:sldId id="2147483519"/>
            <p14:sldId id="2147483520"/>
            <p14:sldId id="2147483521"/>
            <p14:sldId id="2147483522"/>
            <p14:sldId id="2147483523"/>
            <p14:sldId id="2147483524"/>
            <p14:sldId id="2147483525"/>
            <p14:sldId id="2147483526"/>
            <p14:sldId id="2147483527"/>
            <p14:sldId id="2147483528"/>
            <p14:sldId id="2147483529"/>
            <p14:sldId id="2147483530"/>
            <p14:sldId id="2147483531"/>
            <p14:sldId id="2147483532"/>
            <p14:sldId id="2147483533"/>
            <p14:sldId id="2147483534"/>
            <p14:sldId id="2147483535"/>
            <p14:sldId id="2147483536"/>
            <p14:sldId id="2147483537"/>
            <p14:sldId id="2147483538"/>
            <p14:sldId id="2147483539"/>
            <p14:sldId id="2147483540"/>
            <p14:sldId id="214748354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2C7D4B-1DEC-771A-3C84-DA5C98524EAF}" v="343" dt="2026-01-23T11:28:12.462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font" Target="fonts/font22.fntdata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slide" Target="slides/slide13.xml"/><Relationship Id="rId84" Type="http://schemas.openxmlformats.org/officeDocument/2006/relationships/slide" Target="slides/slide29.xml"/><Relationship Id="rId89" Type="http://schemas.openxmlformats.org/officeDocument/2006/relationships/slide" Target="slides/slide34.xml"/><Relationship Id="rId112" Type="http://schemas.openxmlformats.org/officeDocument/2006/relationships/font" Target="fonts/font17.fntdata"/><Relationship Id="rId16" Type="http://schemas.openxmlformats.org/officeDocument/2006/relationships/customXml" Target="../customXml/item16.xml"/><Relationship Id="rId107" Type="http://schemas.openxmlformats.org/officeDocument/2006/relationships/font" Target="fonts/font12.fntdata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slide" Target="slides/slide19.xml"/><Relationship Id="rId79" Type="http://schemas.openxmlformats.org/officeDocument/2006/relationships/slide" Target="slides/slide24.xml"/><Relationship Id="rId102" Type="http://schemas.openxmlformats.org/officeDocument/2006/relationships/font" Target="fonts/font7.fntdata"/><Relationship Id="rId123" Type="http://schemas.openxmlformats.org/officeDocument/2006/relationships/presProps" Target="presProps.xml"/><Relationship Id="rId128" Type="http://schemas.microsoft.com/office/2018/10/relationships/authors" Target="authors.xml"/><Relationship Id="rId5" Type="http://schemas.openxmlformats.org/officeDocument/2006/relationships/customXml" Target="../customXml/item5.xml"/><Relationship Id="rId90" Type="http://schemas.openxmlformats.org/officeDocument/2006/relationships/slide" Target="slides/slide35.xml"/><Relationship Id="rId95" Type="http://schemas.openxmlformats.org/officeDocument/2006/relationships/handoutMaster" Target="handoutMasters/handoutMaster1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slide" Target="slides/slide14.xml"/><Relationship Id="rId113" Type="http://schemas.openxmlformats.org/officeDocument/2006/relationships/font" Target="fonts/font18.fntdata"/><Relationship Id="rId118" Type="http://schemas.openxmlformats.org/officeDocument/2006/relationships/font" Target="fonts/font23.fntdata"/><Relationship Id="rId80" Type="http://schemas.openxmlformats.org/officeDocument/2006/relationships/slide" Target="slides/slide25.xml"/><Relationship Id="rId85" Type="http://schemas.openxmlformats.org/officeDocument/2006/relationships/slide" Target="slides/slide30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slide" Target="slides/slide4.xml"/><Relationship Id="rId103" Type="http://schemas.openxmlformats.org/officeDocument/2006/relationships/font" Target="fonts/font8.fntdata"/><Relationship Id="rId108" Type="http://schemas.openxmlformats.org/officeDocument/2006/relationships/font" Target="fonts/font13.fntdata"/><Relationship Id="rId124" Type="http://schemas.openxmlformats.org/officeDocument/2006/relationships/viewProps" Target="viewProps.xml"/><Relationship Id="rId54" Type="http://schemas.openxmlformats.org/officeDocument/2006/relationships/slideMaster" Target="slideMasters/slideMaster3.xml"/><Relationship Id="rId70" Type="http://schemas.openxmlformats.org/officeDocument/2006/relationships/slide" Target="slides/slide15.xml"/><Relationship Id="rId75" Type="http://schemas.openxmlformats.org/officeDocument/2006/relationships/slide" Target="slides/slide20.xml"/><Relationship Id="rId91" Type="http://schemas.openxmlformats.org/officeDocument/2006/relationships/slide" Target="slides/slide36.xml"/><Relationship Id="rId96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font" Target="fonts/font19.fntdata"/><Relationship Id="rId119" Type="http://schemas.openxmlformats.org/officeDocument/2006/relationships/font" Target="fonts/font24.fntdata"/><Relationship Id="rId44" Type="http://schemas.openxmlformats.org/officeDocument/2006/relationships/customXml" Target="../customXml/item44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81" Type="http://schemas.openxmlformats.org/officeDocument/2006/relationships/slide" Target="slides/slide26.xml"/><Relationship Id="rId86" Type="http://schemas.openxmlformats.org/officeDocument/2006/relationships/slide" Target="slides/slide31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font" Target="fonts/font14.fntdata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slide" Target="slides/slide21.xml"/><Relationship Id="rId97" Type="http://schemas.openxmlformats.org/officeDocument/2006/relationships/font" Target="fonts/font2.fntdata"/><Relationship Id="rId104" Type="http://schemas.openxmlformats.org/officeDocument/2006/relationships/font" Target="fonts/font9.fntdata"/><Relationship Id="rId120" Type="http://schemas.openxmlformats.org/officeDocument/2006/relationships/font" Target="fonts/font25.fntdata"/><Relationship Id="rId125" Type="http://schemas.openxmlformats.org/officeDocument/2006/relationships/theme" Target="theme/theme1.xml"/><Relationship Id="rId7" Type="http://schemas.openxmlformats.org/officeDocument/2006/relationships/customXml" Target="../customXml/item7.xml"/><Relationship Id="rId71" Type="http://schemas.openxmlformats.org/officeDocument/2006/relationships/slide" Target="slides/slide16.xml"/><Relationship Id="rId92" Type="http://schemas.openxmlformats.org/officeDocument/2006/relationships/slide" Target="slides/slide37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slide" Target="slides/slide11.xml"/><Relationship Id="rId87" Type="http://schemas.openxmlformats.org/officeDocument/2006/relationships/slide" Target="slides/slide32.xml"/><Relationship Id="rId110" Type="http://schemas.openxmlformats.org/officeDocument/2006/relationships/font" Target="fonts/font15.fntdata"/><Relationship Id="rId115" Type="http://schemas.openxmlformats.org/officeDocument/2006/relationships/font" Target="fonts/font20.fntdata"/><Relationship Id="rId61" Type="http://schemas.openxmlformats.org/officeDocument/2006/relationships/slide" Target="slides/slide6.xml"/><Relationship Id="rId82" Type="http://schemas.openxmlformats.org/officeDocument/2006/relationships/slide" Target="slides/slide27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slide" Target="slides/slide22.xml"/><Relationship Id="rId100" Type="http://schemas.openxmlformats.org/officeDocument/2006/relationships/font" Target="fonts/font5.fntdata"/><Relationship Id="rId105" Type="http://schemas.openxmlformats.org/officeDocument/2006/relationships/font" Target="fonts/font10.fntdata"/><Relationship Id="rId126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7.xml"/><Relationship Id="rId93" Type="http://schemas.openxmlformats.org/officeDocument/2006/relationships/slide" Target="slides/slide38.xml"/><Relationship Id="rId98" Type="http://schemas.openxmlformats.org/officeDocument/2006/relationships/font" Target="fonts/font3.fntdata"/><Relationship Id="rId121" Type="http://schemas.openxmlformats.org/officeDocument/2006/relationships/font" Target="fonts/font26.fntdata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slide" Target="slides/slide12.xml"/><Relationship Id="rId116" Type="http://schemas.openxmlformats.org/officeDocument/2006/relationships/font" Target="fonts/font21.fntdata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slide" Target="slides/slide7.xml"/><Relationship Id="rId83" Type="http://schemas.openxmlformats.org/officeDocument/2006/relationships/slide" Target="slides/slide28.xml"/><Relationship Id="rId88" Type="http://schemas.openxmlformats.org/officeDocument/2006/relationships/slide" Target="slides/slide33.xml"/><Relationship Id="rId111" Type="http://schemas.openxmlformats.org/officeDocument/2006/relationships/font" Target="fonts/font16.fntdata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slide" Target="slides/slide2.xml"/><Relationship Id="rId106" Type="http://schemas.openxmlformats.org/officeDocument/2006/relationships/font" Target="fonts/font11.fntdata"/><Relationship Id="rId127" Type="http://schemas.microsoft.com/office/2015/10/relationships/revisionInfo" Target="revisionInfo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slideMaster" Target="slideMasters/slideMaster1.xml"/><Relationship Id="rId73" Type="http://schemas.openxmlformats.org/officeDocument/2006/relationships/slide" Target="slides/slide18.xml"/><Relationship Id="rId78" Type="http://schemas.openxmlformats.org/officeDocument/2006/relationships/slide" Target="slides/slide23.xml"/><Relationship Id="rId94" Type="http://schemas.openxmlformats.org/officeDocument/2006/relationships/notesMaster" Target="notesMasters/notesMaster1.xml"/><Relationship Id="rId99" Type="http://schemas.openxmlformats.org/officeDocument/2006/relationships/font" Target="fonts/font4.fntdata"/><Relationship Id="rId101" Type="http://schemas.openxmlformats.org/officeDocument/2006/relationships/font" Target="fonts/font6.fntdata"/><Relationship Id="rId122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1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AE084-E490-F8C3-B9D7-693DC9FB2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491D74-9460-114E-7389-FE88C0B85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0B775-0A9F-87A1-55E0-DA102230D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9C309-C4E4-9CD6-27F0-0F1A3872B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858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90434-572D-36A3-077B-1AA60BF17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3DCB96-264E-141C-6A32-10B68E8CE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9B2674-7A4F-3EB2-AF57-A563CF8B4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1CBFC-0F41-8230-F2FD-D53015214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9902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8C4C-BE08-177B-EDB0-B9C5F89DC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D47948-94D4-5BFF-1137-F5E158695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22132-EDE8-7B70-55C7-186200562B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BA013-7D9F-5AE6-BAFD-9E8FB1BF8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905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82141-87D1-096A-D53C-8EF2CA09C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797F4-FCE1-4468-1666-42B337B307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49E70-5886-E916-9DF9-6858B5215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46260-68D2-B943-2851-0363F11DC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6402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0FC13-AC11-D075-DC6A-982E4F76C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F9EB-4788-8365-F014-DE07711EB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368F7-637C-D906-1B82-923DCF832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3ECA4-903E-36D2-7038-E8BDCF831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97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2B27-0817-167C-D402-D59350A7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F045F-2304-5AAF-6C34-754D827CEE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11703-5184-13F4-9CCC-32AE18D7B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AA5A0-2553-6B34-250A-495C4871C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1478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D78BD-75DE-CA03-F421-DA91460F7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279430-19FE-D4F4-BD89-17D552295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B55C4F-8A67-85B0-FA1F-675281AB2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608C8-18C0-23D3-47C1-8A3D0CBE1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386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6188F-3193-745E-3BD2-E290697A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45B08-DDD3-1995-35AE-C0CF3FE0D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459189-923C-DF2E-8B0A-2831C0280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3045-17E5-EC63-5F36-F1E4CEA69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71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1152-8B8C-D5CC-C1E5-507FF5FB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014AA-A38E-D9B0-EF48-3C84DE16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B4265D-90D6-14CF-1F06-DBD46A2B9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9DB31D-0E04-EF3F-ADE4-228AB683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936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62D0B-F5CD-3637-D3AF-8418A11D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EAA5F-3731-E447-117F-6C4567DB54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535842-23C3-1270-61FC-359D3F2EC4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43C8E-2A5F-DEAA-EBEF-0B35152D3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9210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0F838-4D31-93FE-C3A6-C984A2DFC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5FFCAF-6E79-D7AF-3490-6FDEA9639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349D4-E038-BB32-6587-93334D656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0E99B4-DA30-94FE-70B1-F2130C1E0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6686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3C1CD-66EA-68F7-9E12-418FB07A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50A610-7F99-92A3-0EDD-323BCB6A99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0F751-A091-F294-E6CB-79CFAE6D22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AD179-F7FA-5682-A918-13DD56E7E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1033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033D7-AA4A-C22C-ACB3-2744B76BA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E5B76B-3AD7-B9ED-C235-A20C63F62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424F8C-768B-2804-B6B3-9147E6C2F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B30DB-7E44-902E-BC20-053C6E6A9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322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C903-6042-ED0B-089D-0DD86811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108B3-BAE7-EB02-2B6D-1F2E6712D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C5DCA7-C6BA-F082-E64D-C9B35907C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2804-3346-6529-E9BC-BF1EB19E8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5432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D1D0-34E6-3ED3-B609-929F4DD4F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F8B154-3BB2-A515-A145-0977287102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F94534-1120-B714-CF14-3107F4919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F72686-47A4-02C8-CE5E-9691E4F05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9533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A893C-5364-6103-BFBD-010CA40A4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4995-E54E-2560-D977-4DE2354B5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008FD-1A02-F32D-3162-39EDE6AE4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BDB5-A770-2C9A-218E-4AEECABB7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9620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9C60B-2C6C-8AC9-A7EA-03EB7586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D22710-D3B5-62D8-64BE-3056DF60E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7388D-FCD9-C2CE-FF38-C854D6712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25A84-CC8E-C84D-ECD2-28A6834C5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0954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0A141-DE1F-0426-79F4-2B4670BDB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330135-B091-AF81-6BAF-2C1626FCBF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333A5D-0C70-588D-589D-ACDE34FED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766616-DAC8-98BB-76FF-51965C2DC5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453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EBD28-0A7C-9831-AFD0-7C89D9E52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9865A-7B38-E142-E33C-AEAB9E58BB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C2E0D0-8FAF-7B99-AA8D-D99C1F0387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71732-28E8-13C2-7A91-01330C5577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05904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AFC084-CBE1-88B5-0CD7-95F0D24D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8B69D7-13F2-195C-BDF6-6634B891D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F7E761-E553-691E-5518-7EB8B1D8A6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4384CE-5CD7-B0E2-A9AF-09903DB54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272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3CF64D-0122-D92B-5E4C-BAF350572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317FB7-4A9C-A289-AEB1-74F5E40B9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545D6-CD63-EF70-D612-771AFB3524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19C5B-7E66-2C1E-C605-F6EB8F856A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1588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6FB6F-D5C1-12F0-242B-E138C3D66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117068-4538-9F21-C526-7CEE4D2AC9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002654-56F0-72D8-4CF2-5015ED1379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17386-2886-49DB-2210-0763B4FCD3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1117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778D1-3532-E5C3-CCAD-74AFC8B79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DE3197-0F33-3865-7DE6-FCF3AA428F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EA533E-CA1A-DAA9-DD74-8E4692A14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63BED-5EFC-EA81-2C74-DD8862EE87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54047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E8A5D-0483-0E0E-262A-9A2A7F6DE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688F5D-1A5A-CC57-C4D3-A543AEF539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ACDB35-7F24-9E83-05BC-CF744B63E6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ECF87-888E-2A35-D5B8-4F55442A32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1988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C5C52-69E0-2914-93DD-F9CFFFFA7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6AC427-1FCA-41BC-A6BE-BDAFFD5754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E6569-D766-3E25-32C5-02DFC3AB5C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68CCA-A308-1248-B12C-CE56BD12E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615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12D3F-B740-7330-919C-124A09585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5266FC-A498-E3DD-1CDD-6A6E17706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E33761-7748-36FC-0640-24261C8B05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57714-54BE-13F5-9C31-BAA1DB3292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01671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6FCB1-3BC6-6F93-765D-94F8FFDC3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1A3EBB-FB41-7293-CA4C-82DC6364C0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087D50-E423-3250-D25E-DB61A5948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5B966-3E97-A0D4-E7A1-51FE297FDC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61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AB908-FC2F-2C50-04D9-3309E51F6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704650-8339-C52A-E621-8DB7993D1E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52D0A0-2590-2764-E505-7F25724087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48F9B-6EAE-1322-EF92-138873285F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7883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5DDE48-240F-A887-DDDF-F9E80B8D2A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BC7421-C3CF-92F5-E8BE-3C2C3548F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43A8A8-82F5-CB66-9614-6812A6BE6E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EAC4E-4F02-4926-07B5-49DCE5C235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158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7406"/>
            <a:ext cx="3644029" cy="131267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1319687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122854"/>
              </p:ext>
            </p:extLst>
          </p:nvPr>
        </p:nvGraphicFramePr>
        <p:xfrm>
          <a:off x="4440142" y="4350331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133759"/>
              </p:ext>
            </p:extLst>
          </p:nvPr>
        </p:nvGraphicFramePr>
        <p:xfrm>
          <a:off x="503238" y="5799400"/>
          <a:ext cx="3608359" cy="1021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3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3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03389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746357"/>
              </p:ext>
            </p:extLst>
          </p:nvPr>
        </p:nvGraphicFramePr>
        <p:xfrm>
          <a:off x="8148439" y="5853913"/>
          <a:ext cx="3661179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CASE Title 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D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A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553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CASE Title 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D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A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545988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2883799"/>
              </p:ext>
            </p:extLst>
          </p:nvPr>
        </p:nvGraphicFramePr>
        <p:xfrm>
          <a:off x="4958031" y="3151698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834285" y="3052604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534557" y="30680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948967" y="493384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  <p:sp>
        <p:nvSpPr>
          <p:cNvPr id="17" name="Rectangle 1">
            <a:extLst>
              <a:ext uri="{FF2B5EF4-FFF2-40B4-BE49-F238E27FC236}">
                <a16:creationId xmlns:a16="http://schemas.microsoft.com/office/drawing/2014/main" id="{FEA55ED6-3402-6810-134A-69E86C40BAF1}"/>
              </a:ext>
            </a:extLst>
          </p:cNvPr>
          <p:cNvSpPr/>
          <p:nvPr/>
        </p:nvSpPr>
        <p:spPr bwMode="gray">
          <a:xfrm>
            <a:off x="4610082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46">
            <a:extLst>
              <a:ext uri="{FF2B5EF4-FFF2-40B4-BE49-F238E27FC236}">
                <a16:creationId xmlns:a16="http://schemas.microsoft.com/office/drawing/2014/main" id="{77BEE5A1-7879-368A-E44D-265ABAAA9A58}"/>
              </a:ext>
            </a:extLst>
          </p:cNvPr>
          <p:cNvSpPr/>
          <p:nvPr/>
        </p:nvSpPr>
        <p:spPr bwMode="gray">
          <a:xfrm>
            <a:off x="4367786" y="5448626"/>
            <a:ext cx="3633694" cy="133145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26" name="BOX_COMPLIANCE">
            <a:extLst>
              <a:ext uri="{FF2B5EF4-FFF2-40B4-BE49-F238E27FC236}">
                <a16:creationId xmlns:a16="http://schemas.microsoft.com/office/drawing/2014/main" id="{0B39065D-FAA3-FFEE-4BFD-AB364B8994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370323"/>
              </p:ext>
            </p:extLst>
          </p:nvPr>
        </p:nvGraphicFramePr>
        <p:xfrm>
          <a:off x="4347214" y="5799400"/>
          <a:ext cx="3608359" cy="7137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in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in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F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in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{{FD3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{{FD3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129954"/>
                  </a:ext>
                </a:extLst>
              </a:tr>
            </a:tbl>
          </a:graphicData>
        </a:graphic>
      </p:graphicFrame>
      <p:sp>
        <p:nvSpPr>
          <p:cNvPr id="27" name="TextBox 42">
            <a:extLst>
              <a:ext uri="{FF2B5EF4-FFF2-40B4-BE49-F238E27FC236}">
                <a16:creationId xmlns:a16="http://schemas.microsoft.com/office/drawing/2014/main" id="{5CFB71AB-99A2-22E7-E785-F138FF4E1E65}"/>
              </a:ext>
            </a:extLst>
          </p:cNvPr>
          <p:cNvSpPr txBox="1"/>
          <p:nvPr/>
        </p:nvSpPr>
        <p:spPr>
          <a:xfrm>
            <a:off x="6947559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29" name="Rectangle 47">
            <a:extLst>
              <a:ext uri="{FF2B5EF4-FFF2-40B4-BE49-F238E27FC236}">
                <a16:creationId xmlns:a16="http://schemas.microsoft.com/office/drawing/2014/main" id="{98BDB2C9-6D8E-D4CD-DA12-4DC9BB4C9093}"/>
              </a:ext>
            </a:extLst>
          </p:cNvPr>
          <p:cNvSpPr>
            <a:spLocks/>
          </p:cNvSpPr>
          <p:nvPr/>
        </p:nvSpPr>
        <p:spPr bwMode="gray">
          <a:xfrm>
            <a:off x="4794582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 dirty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IN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 panose="020B0504030603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272E3-2F8D-B030-17DD-52757F621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D8C1A5-51A2-C9A5-6E3B-2E020EE41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3A187E-4DF7-E157-1F3E-83481FCE9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C8A9ED-1A65-0F27-272F-5EC0479A6FF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2C242-6BCE-9AA5-81E6-BB32DB42AAA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497D3C-6096-8954-727D-56A5058936D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19C11-39D2-4B41-CA3E-F897D26FE32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12FF7-4334-9C7D-D0E5-5B38A9260C6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E24A55-1A5B-0113-C91D-110986F6B58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6D422-A0B5-F08D-E18D-F690C594823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E2C6EC-1147-9418-BBA8-E84D91DF336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E686AE-52D1-A050-1A41-BE0BC1C42CF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7D0C6D-CC99-FFC2-4490-5CB47D30AC5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D141B-F6EE-8941-A5DB-34C4D2B1D19F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0AD00B-E502-9892-0DB6-6269A313FB8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DE0AE80-8F47-7F10-0964-3093033164C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09E71AE-F557-8785-DCF2-23ED979B161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C0717B-18DA-A8D6-208B-7361DE7D036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0356ECC-2929-A7C3-6889-15ACACD1256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0E4A23-BB6A-ECA4-3D0A-F1F89E039CB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B60579-5CAB-8145-C17B-A3FF2A43723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AF9891A-8627-FD1E-B17E-D748D9EC4E4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7FC3A48-3AF2-81CF-8697-CCA091F3B42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C87234F-1507-1B30-53AE-C76880F66C3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2FBCE4A8-F02E-02E7-29E0-06AC83BD19A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0721A4-090D-DD64-846B-B94E2407871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D1D8B79-C22C-6B65-47CF-99CBDAD85AE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D009E8-B8C7-936A-F178-4E14A06F7AC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F34DEC-BBD0-F2E6-8459-8EDA8C96572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E4EB7C5F-1BBD-8515-049B-ED4AB97C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9E337C9-9818-CED7-1EDF-1290D18AC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87DD833-BA39-2C8D-A90B-DDDC2F1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484BDEF-1781-1819-A1A3-C7179E2F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0A5C574-A576-2F71-7531-6B99F30B0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655F453F-8369-67DE-96F5-0EDCBC47A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91C76B-4D8B-4588-6D2D-B8FFC3F8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9D69C994-950E-E7D9-818F-B0D3E8461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1B559FF-0E23-EC58-7C7F-A942606B851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DC8795-1EDE-8DAA-4C7A-DE8B56AE3B4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73EAA-7E77-C5AA-B32C-AB6F6A46936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F4C0B9-6414-AB4D-F537-31F70016666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8CBBC4-9F14-000E-842F-BE965660354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D20C9-43DA-1C3F-C6BC-42973401FEA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78283AE-2347-84C1-5DFA-A37640618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5B9A3E0-4E65-293F-E395-BB4278D27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96BEAC-688A-CD02-22BD-5F6995A31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55E65C43-BB35-FF87-F082-42D46AD0D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D425C4E7-209A-195A-69E9-2DEEBDE57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DDB3D9C-B74E-8A21-CB45-DEB18386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1A65648-6ED8-3081-F0DA-BF02C80A1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C5A9AC0-1756-9563-258B-798133786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A80F334A-3238-BF86-E048-23EDB3857E9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34879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ECA0F-CCAE-EBE8-2E9A-4C9E0F898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2C3EF8A-72D7-55EA-D2DA-368C36C71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2C3EF8A-72D7-55EA-D2DA-368C36C71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27D725-D018-BF0D-79AA-8820EBEB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EB519B-2A66-F006-8BA7-C52D5C47459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5021B8-9211-4CE8-5CD0-ACA59DFE4E6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B3DF1B-81DC-3FB7-4DCE-F963A6383B78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61FE05-6377-1D0E-4D11-125C777D28E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5BB6E9-0233-7BE2-AD25-73DD0273814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20E08C-AC17-15AD-0C33-294482D9DBD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8B3843-4D3D-26E7-84C3-F0ACE08870B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C3BE11-57DB-8753-7C35-810F0CAFECB8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CA04C-0777-B39E-7603-4443390511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CA5713-7770-5B93-F3AD-86E6E976393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B274AF-044E-8B41-18D3-C3FABEB4993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F04D32-D8A4-9DE4-DB36-9130DDD33B0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311650-C619-3C56-F393-2E68D0B5BE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AA9EE0-3DF8-E1A2-9103-072B3995D817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C3244A-B694-E05F-5113-C70F064852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D17EE90-4468-6124-D52F-2717029CFE1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07D6F-D5DF-F4E6-CB07-A6C6192623B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0C2C5A-3ED6-1755-C0F4-A1244E6D0D6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F2268AF-476D-5E8B-488E-CAF4C6FCE18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23AB682-007B-D276-DC3E-D5C85DB9CBE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19215798-1213-2E23-841C-210FF32DB32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9C06EFF-5624-056B-1387-A62EEB33D39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F2A589C-7DC2-86B5-0DE8-4133C5A2407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4038257-524F-0F45-0A46-65C1875254B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0F596B-EFA8-D650-5D46-B64C5D02D0F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6222E-3789-3D2C-1185-51C1E76B000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859C8C3-3294-255C-7BE4-F1E78B5E66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1F99992-4FF0-64CC-D17C-0D4A81FA5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73259F0-AACA-0683-FCB2-861F028E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53234CB-95B1-2046-BD26-65EBFDA3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2CE9A990-3FA0-0EEC-3E7E-0662E6801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929A9E1-CDCC-F5EB-04E1-EC72E05A3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D17BAE9-D87C-7349-8D86-947649FD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9FAC5AF-2113-4E89-2202-F508FC2D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0740EFA-ADD2-83B3-6F17-F262BD88410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E7E0-DD9B-71CA-AF26-3CB0CE0157F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9BD2F-1D41-F0DE-A511-15FD1677F33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CE93DF-1193-A028-0300-AA899B398C12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B7B23-C57F-A2F3-95A7-8168912F1C2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E4D19-3608-62E1-733D-ECB1386C35E7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D20C510-848D-3EAE-AF60-E26C0670B4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38A627D2-0BC2-1030-AA27-906E24CC1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7B93561-1ED3-A38D-2174-DE606CB8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D56F59E-7358-AFE4-F7C1-ADBF58EB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70AA456-1064-C76F-2FCE-B4A0E0C0F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2F1D4FB-96F9-2A43-01F7-43A3538B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734359-53A7-A032-6E74-7837EEBB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24A8CFE-D05A-097E-D8FD-F92B558F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303982A7-C2DB-938F-3DA9-172332C35D1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061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5A800-2457-9F39-E373-BF3AE914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617A2D0-30DF-FCA2-15C5-B738948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617A2D0-30DF-FCA2-15C5-B738948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2BB2C-1D95-5661-8C3E-B2959FA9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65D0F-4625-3CB1-8EBF-6620209EAF4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E19F9B-5062-D29E-900E-AA840082B48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587836-6086-E207-66A0-AF27A3B8A38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63A759-0F03-0E2A-C4E3-2357D21BDDB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43728-390D-FA8D-EA34-CE6BAE06169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48CD7-B215-B2F3-F878-881019D1A21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49E0-1F73-31DD-7779-8D1AD8CC34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A64787-470E-F376-AE10-31C858AAE99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3026B4-9B78-48D8-20FC-014E4AD6C8DE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EA9B19-1B64-48FA-31F7-1AD91DD99B5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51AB30-74FC-5B21-981F-6EA4D2CE1BF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CA30AE-C890-8577-D33E-BCD9A60D7E06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C07CFBD-9C54-0C65-72E3-D71913B634E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B5184E-B658-977D-6D63-3F98A2EEFD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B2EB78-3C66-71B6-656E-9DA9AA491FE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79B2FC-2CB5-37F7-9605-49A7306F48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F7337-227D-0892-9BE1-426787D1D6A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4999A-A731-F306-CACC-2F7F2AB0EF2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0497E6-513B-059A-DC65-5B1BF2A82B5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4A4A25C-24E5-28C8-4B05-7218C108004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0840DC6-77BA-35E5-2384-8D926D2F714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519679C-C515-273E-B302-391B8A352889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79D5CA45-0298-D683-071C-ACA4DABB81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8292265-7B90-9273-556B-A4F43D8DEEB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602A11-514F-A347-0A74-29435F89115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D68F7B-08E8-F071-F880-5F8A8BC5362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03D5DE14-62C1-FF76-B513-26654BA990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4693FB7-BBED-A164-5CC1-BDA5ED221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6BD3377-804E-C766-E6C6-3D70B88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F4330949-A53E-F20C-8502-E9C9217C8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B0C41D0-E6BC-5E03-AC88-5C1526D2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AA9FF12-4969-F1D7-EB51-DE8886B11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C2B88C4-7F28-2463-223D-3B9EC771C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9D7ADDA-C76A-6971-FC33-DACFE1FA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2702F8E-1EA4-C8C2-530A-5824B38ABD6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F8F75-16F3-ACBF-A511-172485A5E2C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A30064-F3ED-5D8E-F3DC-3239DB78EA83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FB0701-1ABA-25A5-9031-F3853FD19EFE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3475A-45A2-1D83-C953-8B4B584274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A8F239-73E1-2DB4-C7ED-128ACDF67A2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1864648-1585-5287-B737-2D6CFAE76F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E82D494-13A2-5310-4288-7A49BBC5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6898E78-C13D-096B-B835-6694169D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E9FC6386-BDA5-C748-77D0-2060A9F2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7B873FA-4026-7C07-B8C9-EAE46C06F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6CDBF35-6853-F0BC-51C8-F59B1EAAA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EB26740-31FA-A551-4529-E01B45DF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51EDD51-FA12-D25D-3448-2323B8A5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090D48A-B565-7E19-A645-60F08E6B17AF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4272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55FBE-1CBC-369B-2DC6-F659AADDC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9517EA-2EB5-0E7B-DF9F-36C216CB8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59517EA-2EB5-0E7B-DF9F-36C216CB8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D1ABC2-C86D-E051-98F8-7F36FFD33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BDD0A-6DAA-D08C-51F0-50B72F30DA1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9775ED-1017-6B2D-D645-EF36ACF2D4A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2582D7-A49E-38E5-2F56-CBC8428FA329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83852E-14A3-F422-8B1A-55405947715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1B616D-3747-7AF6-8D3B-26B5A786A628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3EB0C7-0BB1-CFD0-8DE0-B84965493D4B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1AFEBC-2F41-29E9-DA2C-E2C8CC124359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822DD79-665F-C091-1D45-ED5437508F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FD6139-5EDE-8F85-016E-6B27CF104B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55284F-80F4-0FEE-756B-DAD7063C77B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CFA6F1-B109-20A0-6473-99C3F62203B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DD4814-B531-8875-F60F-A945617B6DE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26D141-CCA9-69A6-FAC7-85482C62E4F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3F12FE-027D-5349-056F-4B89D9BD17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DB243-EDF5-FE32-AD1D-DD41097E862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EEDEDD2-D7B8-3CD5-1CF6-3836F3D6BD66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DF0F98-99F0-9B78-BB20-A9EC667D4A5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D34AC9-BA3F-B001-3CE0-428C5F3EA99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ED909C-A2D0-05B9-3CB7-2F24AA4F51E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F513007-32C0-13CB-33C3-267E6AC42A8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76A9570-E692-34A9-4E74-88084F08680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D45A48D-CAAB-E09E-F9AB-C911A3B0474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111-0763-3CDA-EE8B-8C23A3BBBDF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E4676744-4928-2810-AF84-39CD4B33927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6DE32B-A531-4C88-38A0-36AB98CC9B0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2BD8F27-3A7E-ED62-9938-6013A4278AC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A3FCAC6-C43C-A826-3CC7-94A150E9B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28B69640-17F0-8AE9-BCFD-83E401F54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C68C365-E36B-A930-44AC-1242E2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5697C93-432B-192C-B07B-CE37AB39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BC6CE43-480C-933F-A64A-4F8B66FF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D365442B-384B-394E-A06D-FC69D4861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706C231-09C0-70B5-E3D1-08B471E4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1C11D56-97BB-750F-DB33-1C88D030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AC396F-55F8-7701-BD7F-1B2D49E5718A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92D44-7819-F741-4CD0-E9B6702CC25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5417E-86C3-F310-7C66-3F4DB64D267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FE5DB-5C02-52FB-6D1F-91F69E2615F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7A37A2-ADB6-83CB-33F6-62FBA471A6F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1C9B3-0F6C-A357-502B-D8F19997BD3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A75E512-5B56-EEF3-9475-85F74656AE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5DD4803-14EF-1D6A-771B-CBFE01713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CD1A5F-FB21-0457-4CCB-54FB97946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0929978-B8CB-6537-1310-95BCD063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1DDA647-6053-C5B1-DEFC-F58D4F82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5808937D-E418-9BDD-5E5F-72914BBA8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EC1995D-9F0B-B8B2-9890-C8F741C6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1E739A33-CBE9-E16B-E7BE-CB70FCE3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E6C28CB-5828-D0EC-0E86-BAD183243E4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7650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2EA0B-B0FC-1254-A0B7-504D02CD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FAD8A73-890E-B20F-1578-43835FEC1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FAD8A73-890E-B20F-1578-43835FEC1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ED7B9D-30BC-B583-DF83-D29775340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330B-1892-97E5-DF1B-61806A971C8A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D28B4-A45F-89A4-4893-730DA2BA9B3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01E3-AE27-E531-1D9A-30C5433CF9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A03D4-566E-826D-9FF9-47D3609CAE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DBE8AD-2FF3-9EC8-98B3-C7E85F95D653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F00039-7F79-15FA-A141-63FBE83A32B3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142C2E-5AAF-D9EA-9D13-D2F1B05B2D0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C20A4-AC9A-5889-4E2D-CC67101E5EAB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36461D-4593-AD48-0462-6B107F8FB75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62E240-4374-3B7B-6E1B-BE7C175AA89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3A2769-C054-DE83-CD24-78626C34B4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8A5E9E-FC19-D10B-976A-70179D52A97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95D5BB-672A-306B-910E-C61B13E26C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F30D21-F1D3-D2AB-DA88-E88204F4532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07BE4-CF9D-AB4E-5165-26EAE810B9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D7851-5177-9749-AF0A-9ECED821F1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D7A9D9-FB88-A61E-C666-7D2288E21C3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56A2EC-46B7-0D81-E388-048B7B71C9A9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CB7452E-9E2F-79C4-C17B-89EBF6D0E99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268FF0B-BF28-34E2-D797-46BC05E7D73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D5D5C04-FFD3-907E-44C9-A9B1A7578D1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F040A43-0239-35DA-9C18-B9592667DA1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B529FB8-2AFC-9935-AD4A-40BBD31CC14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EECC909-9E7E-6E01-27A1-E4A9DB1D20B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1A035B-02D1-2FEE-306C-2BA2AE5446A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B4D379-5F70-26E2-B191-ABA6F2834EA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9BF8C1E-02DD-9A31-B214-F56188AB44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6EB8D9B-A5F1-051C-5EFC-3EFBA220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A81CF9D-72C4-BD3C-80C4-CD919F9D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5E363DF-E90D-814F-27E6-DA3D39B7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72A5B5C-4877-D018-EFF4-BF5D927E6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A6B5F4D-F344-124F-0D49-D88BB94B7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16563F5-374D-D043-F9D7-9F85978D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D162D28-7763-81BF-3988-725E6B93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AC2231-F051-53A4-E31B-049A8B0BCEAE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E6FD52-DDBA-13F6-9D83-DBE0EC01CC9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30CA9-2454-9B8B-906C-7718B50D346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627D6B-517C-2287-5FCF-72710960AA4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435108-6D1C-F007-7635-69238DF563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57E8CA-8CE1-41ED-739D-C1E29EED65A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90CE7DD-335C-1BEA-B340-AC729CD4F1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18E7605-3184-8B5B-2CB8-68C274F2D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5BDD20A-D9F4-2060-39DD-A0620F764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FADC01A-DA90-7EA6-CDF1-E08127A93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D89E506-09EF-369C-FF6E-06AE0D009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6B0D8BFA-FCCD-AC85-5C97-78F39F690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0140447-5A29-2332-1B5A-280EE58E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ABAF9EB7-E647-1753-4533-8896AA8F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FC18151E-E056-BC83-209D-312214EC7E6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96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46121-A88A-9FED-850D-27C33526F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09579CF-CC34-8C7C-089B-C4EC78EFD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09579CF-CC34-8C7C-089B-C4EC78EFD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069E6-9480-977E-E0A2-C16ED02B8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78FEAC-F5E1-7710-6B29-65E3BA119208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A6078-3406-47D0-4E87-AF7AC4DE5DC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93434-AAB9-2A86-8B70-6F43CEA4BD2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6E9C5-511E-F80F-2D85-2BA67A2613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97F2-2FE5-A263-65FC-4A038753A80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7EC37F-9996-0E30-5B0A-787A86BC1E8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75573C-BD18-D368-81C3-563CB429F51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FC266A-A4C5-2E04-97B4-D18567734C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C9C5F4-393F-E39E-0886-B633E951770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3377A1-1BCB-D52A-4015-E10C1B8617C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390189-05C9-077D-431E-D5CB5DE9002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FBC23-2C7D-24DD-9EF2-EFF25C3E767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4FDD4B-E2CF-8BAF-4EC6-E95C8643CD2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325FDA-C519-0461-6B77-7CA685CE9B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F16D0B-BDA1-8247-12BD-6BB1CC58481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BBED4-3473-7FBC-B7C8-92D448A74A8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8BBE74-A7A5-9CB0-A35D-7A9AB965E1C1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21621B0-6081-8E01-AC8D-FAB5428C5B7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8BA4E994-7492-AFFB-6865-015C3BC3C7E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AB63904-C805-070A-2777-49EFAD8F782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A2B87D3-1A07-DCBB-2FA0-C5CFBC63B9D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7D0F2CD-8284-5FCA-C645-5AD1E86DF9A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405A897-149D-6179-9960-578918BB3947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A311C42-5C88-234C-3D19-C6A0DB6EA94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EE329C-A8D8-5858-5FB4-93379DABBFD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5C69DA-6776-83D0-5DCF-9227A8CD356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F375233-29E1-2BC6-DC28-8766AAEFFD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A971511-13AF-AC93-3397-1FB823A3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2E4B1E3-A3BC-A207-4CE1-648125A14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7356B65-54FE-953A-BA4A-93CA4CFA1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E8220D0-BE54-6A6D-DB75-246FA960C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758A6A7-4C28-8E5E-B382-0F2C8F159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9BB6A8B-D93B-B8D7-3D5F-8DD76252D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D3C8B48-EB6F-B537-A592-2E2529544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1006DCD-4C49-4A80-2BD1-E7DA297DB3F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84BAC9-267E-9C34-A366-ABB15EF89E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D4D77-1B4A-76A8-6803-6CA8C8B164D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16E1D5-1940-5245-E06F-7B3570B3E461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9D2A17-D99B-E61F-6D26-AA99895912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FEE46-9975-9C26-0915-6EFDFF61FCB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BEA7C3B-E482-D810-AD74-B05FDEF49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D510773-8F20-3B3D-EDC4-7E6393A92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5DC5AFF-17F0-1193-73DF-718B61A3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0BC9852-2209-FB17-D4B3-A6221C46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FDA5CFD-55D6-3B88-6711-041A9F90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DB3AF36-D1B5-27CF-37C5-8125FFC4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9DDC47D-82BA-DBF7-19F8-BAE04B35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63A83-C9ED-99CD-15B3-E074E4B1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71E61A2-ECB5-BD07-819B-6714406DE01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5729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A6292-BD25-41C9-EEB6-ABAD185CD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E84C797-52EB-41FA-53A9-C852DBEF5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4E84C797-52EB-41FA-53A9-C852DBEF5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010943-B4C8-0F31-CBFC-88D6E1489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5615F-C2D1-BFBF-62E8-862744FF1DB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88AF5-8BDE-BA53-3123-72B439AD809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83192C-2938-748C-7C8E-6E243D02F6B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1999F1-9378-7E28-DE21-3269522A2A3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E1E5B-9571-9B31-8D86-3CF696ED039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DE6BFD-2D32-F86C-916A-3E0344C57D1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9A2265-F50C-6B28-CA99-C9F6930F148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7BB36-EFCE-9B6D-33C9-7F83C2DA0AA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4D0CA0-A652-C4C3-B8DF-2DBD752F90F6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21E36-AFF5-855C-A813-B115308C75A1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880157-7923-675F-C9AD-F648AF71F0C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68F26E-2372-00D2-31E8-629C96FD519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9D615FA-7F0F-84BF-D5A8-6036963A796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261FA2-A986-1674-C39E-704BB0ED520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6C4107-A5FE-95FA-F3E1-0799325D20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B77B0-95D8-78D3-DFAA-920BC08CC6C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47BB83C-45B4-0189-869D-16343061C16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1B6C3E-7D91-C813-39EB-3A201B3F7F35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8B090BE-513A-4542-3B15-CCE9A795F2E8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BC4E5FF-F95C-9F24-1538-749EE9A120B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8DBCAB1-B69E-4CF0-B265-0794B222567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F65043-F959-BE72-8C72-5C3A11C20BE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DBF0E2C-B88E-B5F6-3A87-A7BD347C60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D479B86-7AAD-9637-D6C8-9B693035FA0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043F6A-22B8-D953-5413-815D207D45C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4FAD6B-32B1-CE28-1062-A5F5314BD95B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D1BCEEA-0488-B3BB-1049-4FC2138E75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C903E8E-0D8E-4BE9-C203-5DB13A84D2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FAB5D66E-C65C-DE74-358D-98E92B037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486B9CB1-BF53-41C9-9B43-2F9BD9215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E2550BF-6922-4B94-D856-2F75EA87E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F3C7B3B-BF9F-85C6-A995-3E7F96962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01F0B078-CA4F-FD30-A37A-20B45BADB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B33C293-E150-D8AD-753A-BC6367E8E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EF38158-E509-B84D-7A13-15A54C0E118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A0DE3-BA39-3B65-1F4D-8BC7672C19D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75C8B-DCAC-4EE0-D463-11F046ACB17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527B1F-0011-1F78-22A2-0FE352657EC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62AE0D-FB7B-F1FA-667D-444F25EC23D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DD9EB-6D95-200B-93D5-91CE394025A5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D988EEE-18F4-7577-E028-F98036D589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336D19E-AF1D-680A-41DA-87C398884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26A01B6-2001-A838-7465-8D8AD9BC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B437A59-99D1-FA77-C78F-C4CD6DAB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82FB0C4A-9FCA-3FB5-EDE6-CF1CD9AE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35F6A75-394E-8BD7-F99F-8E0B31AE5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4840E3F-4E22-E9E2-FB86-81060A6B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85FE83E-6721-D0ED-9259-047E57EB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4D0644-8B46-D3BA-966C-058AE2D2833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222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D3A0E-6783-FD44-DD1A-BB3F83F4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122A156-7DFF-66F5-FDB5-599643E32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122A156-7DFF-66F5-FDB5-599643E32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2A69BF-0840-1C71-FBD0-6A00103B1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150718-FCA4-5DBE-BE50-F1D50F6B3E8E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7C9B6-20FA-523B-4E1B-5D3BF64E120C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232E72-0FE8-F245-E2E4-5769DFDF7DB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916643-6F23-461D-EC43-DA36232E83F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E5AEF-4A33-27FF-A670-D74A6A3414D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CACE14-BBFF-27E4-0B37-285EB7C1A48A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7284DA-A603-5062-FDE1-30AEF75F17ED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03500-E39C-8957-158C-35D8DA486F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AA6B55-36F7-F999-4B11-DB26CECE8DB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C3241-6875-9EA3-935E-8DBA8915517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5E30D-A6C5-5CE2-E364-BFF245BD522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2586A5-B617-60B7-3F42-F443E18C64F4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2023D8-4601-21C6-C40B-2E171D9339A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062C19-9055-7CBE-75AB-E8FEB3F856C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A83B3F-B83B-3B87-452F-186966D3E8B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DD366-EDAB-C05A-EFE1-2F9E77CE2361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0BF573-1169-0B04-0B4C-EFDB84C6117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7F4ADB-D2DE-A183-0A01-C447D5DB26D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8494324-FD65-733C-E6F4-95B1AAB60D6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102D4F3-6E3B-0ED3-71F6-991F2DACEE6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F28B5C8-652F-FA0A-6636-764B38D635D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008484-07A9-2BA2-93EA-6B2083F7D2D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F68F7A30-3CAF-D8EE-1A7B-4BFF4FBAEE7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A3C6774-6872-708F-1A6C-A80EEF2BA27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2BC590-8107-5D42-72AB-B70FF995495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00D26E-DA42-6FFC-678B-80D943E513B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FEA0AED2-84C7-A490-09FE-776E21835E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C529720-80D1-62F0-8D04-48EFC0A95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2D4F81-7CC3-12F9-7E30-D1C5A599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854F3204-40B6-17B9-B3C4-02DEE39B9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118198F-0490-BC25-E917-4F234FFDD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75396F1-D9FE-F4B9-C920-2A241034C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541EEF4-1FEA-E109-1652-73BFA30B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1AE912A2-DEFC-B3ED-7243-AF9E22461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24FAB2-6C1E-6155-4790-B27B545D38B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5E0EF-6F65-8BD2-361E-7A4A1DEBD9E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C5892-3F15-BB78-6C6E-2CFB45F71C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1EF97-7CCC-D1BE-CA53-D04B38D57F6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17AE57-3AB9-568F-E5C7-E4B565145119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51673-72A3-017D-B8E7-5E65212F124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0AB1A21-C08B-96BB-CD2A-23A8A2D482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97D1E76-A9EA-0F82-EE99-323CA88E9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7436FDE-1723-BD80-3640-1DAF92CE4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1886446-0BEA-EB8D-D302-3179DDF6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F4A6213-727D-E7C4-4313-FF0729BD7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AC861F-4409-E4F7-64AB-9E4C4E92E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57CC3A4-E88A-7523-D820-CE56B922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B86869-2237-750A-B5D8-76D9E91D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1DDE30-8933-3B5D-272F-3D120CEE2C5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753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42429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{{OCM1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2}}</a:t>
                      </a:r>
                      <a:endParaRPr kumimoji="0"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1E34-2FCB-3267-81FF-0962A32DE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6710ACA-34AF-1DF7-B1DE-FFE70C18B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6710ACA-34AF-1DF7-B1DE-FFE70C18B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EB944F-9FC7-D56D-6F4D-53D9B6F2B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02FB8-3F06-8CAB-943D-358C39ED8CED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0555AB-564C-4642-B8EF-94356A115EA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094E4-1DA1-FAF8-B3E8-0051AD10A0FD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6DF2B5-49C9-542D-3F19-A9629F78446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AD3C98-D93E-08CA-5346-DBCC38D10F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66EC0F-3BC4-632D-62D3-C3C6B77A1B5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C737FD-1127-E646-8EA1-7803090C2FD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15D1DBB-EA76-E78A-0F46-41B34501385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19A64-2574-EBE9-425D-B8E82856D4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C8B0B0-09D4-C62E-C633-0ED93BB60B10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B59820-ACAB-C9C3-9664-FC4636420B0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829E68-3579-300C-66DE-1631B5DA1AA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E11CE22-34FA-2387-BB05-A1D97A513CC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A3DDA1-2BDE-53AD-9A69-2775B77A6F6B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967E3C-2C62-B285-2796-4E64226BB230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24D138-9DC2-C1DB-000E-7FBAD20AD29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2772C4-F9A1-ECB0-0F13-97EA9342D03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31AC14-6B04-81CD-0B67-58A57699B9C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B63FE38-CA47-269C-E92A-E7C409E88A6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C0F5929-F3C0-B6CF-39EB-933E6C9520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A9158FC-2998-7451-9B6B-85DE92744FF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FFC40CF-5847-4B64-E39C-3A6F1426291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141DA81D-CA3D-FC96-23D9-78781960DEB1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C0C1EDE-3467-8513-A326-06870C64483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34099E-7590-1C40-9EF7-029D247DD91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4528B6-93AF-7ABD-23E6-D02852A58F66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45CD97E-36FB-C843-B23A-5790EC8584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171395A-6BD1-C4AE-4E1E-BBA36343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CE5A92C-8BDC-44C3-7936-A4D6B1E4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6BED1F-3BCD-0BCB-816F-68DD650D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8021F49-F8CD-D029-464D-AD0313C06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49F508A7-7459-9296-D7F1-61D91EFC5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82695D8-151B-75EF-B00E-FA4E8EE95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375003E-7BC6-21FE-E512-497C099F8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B63A682-E15E-7B82-69CD-1F14C402BC7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F5380C-7398-C450-0B06-F774993DF613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D7B44-270B-08C4-E35D-FCB753ED91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C409B1-4173-E0AF-D9DB-034A134C93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98D65-75FC-A8C3-32BB-F6A4A3A9B1B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FB71F6-1E19-80B3-2203-CBEAE5B88A5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2EA2C5D-9636-CA9B-0669-E4A01F7B71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FED0182-9E6D-77A6-974E-0BA16068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B9C9FF1-5BE0-93F8-E14C-0E202E117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F5E41-859C-2498-DD38-5A796CB9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3B2F26D-948E-F758-E1B7-B3720CA215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02272EA-F2B0-A613-9993-98D59C7F0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74908EB-1546-D071-D42A-8DD9A927E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74D0E83-551B-2CCD-96B2-C1E01B7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8A21329-84A9-9F16-79AC-86558E2EB42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5636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A5120-9ED8-2BBE-9CD7-B1BD0FE98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F2F689-682A-D883-3C62-531B41F21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F2F689-682A-D883-3C62-531B41F21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0D218-B7C6-F4CC-61CC-BD7D43BFE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48345-8396-B261-24AF-9AC28B460EF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D1E04-F978-76CA-73F5-245F9EDB73E5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D7517A-10DD-6193-18E0-C543002D6E4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7FCDDD-F14C-CFB9-ABB5-B6680931574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74380-1698-20A9-65AB-3196A9C1C68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5BCF9-055A-84A8-C1D6-94D7BDDDBC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C44C4-683E-2B44-69B1-5F74628489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DFDB31-4B3F-310E-CB08-709BDCB58E45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034E30-269A-F1B4-3656-BC85E714F65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E9878A-C53D-2FC8-7DE4-7D9B7901C61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4EAAC2-6407-08AF-62CF-6F12D5A3A80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293434-801E-8EEB-7FCA-F178DD85F2D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509D1F-4F99-A837-C8C5-A62666F83E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1CFABD-BC47-E60C-6B15-83FC9602DF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E4D79B4-19DB-9895-BC39-547CEAABFBCF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DC0D3-082F-B308-BF67-055A05410B4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C47C5E-8F20-3B50-F7DB-37226F8E7F1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E12DA2-540E-C260-29EE-142D19CA486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BF0056B-8059-BC94-A368-08305C588E2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1738C79-7BE2-A270-E3E3-4A7BCB8CDFA1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908858-C77D-A3D6-171B-64E991C155B5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6B27090-9382-6647-720E-9A3593B4947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A7869B5-955A-03D2-47FE-A2A0ACACBD8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C69015-4973-BDB2-8345-EF0226D8D48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BEA232-BE54-842E-A832-B38BA4DD023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9E0016-E082-2CCF-C0B8-26792BAE8A9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E25E1CD-3BBD-F53F-914B-2EC1541435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892CE94-AA37-16D2-4552-C8C4001F4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D6FFBA4-6051-5F28-98F8-887A1BDD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CB4EA3C-4B0B-0817-75EF-9DBA57B0F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62F05C0C-8FF4-B1BD-524B-A8A2184CA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CF328DC-6626-3447-F37F-5E6C73CA0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80FED86-99E6-D5D3-E6C2-DD79F9C4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75DB7D8-8A9C-1F15-77C1-ABD0227B2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5076E1-2E80-25C8-EF9A-45B9B666D37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E0A5A-170B-6A29-8965-A54F503D48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1BC73-8E5A-6E2C-98CB-3C2A5051C35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E2FC39-2938-36FC-3BDD-D7BD13D8067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B1AC2-357C-18D6-B730-3EAFEC36307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3FC057-4691-B718-449A-C67522B91AE4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ABB26E9-0E09-D171-7E5E-93B503F5D1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880F70A-230A-60FD-9610-C48F9D931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265DA4D-C5FB-305A-4435-5820AF38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B4938F83-8F70-1376-5BCE-848CD71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89D3BF9-998F-D91A-8B97-0B5519C21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CCCBE5A-D1AE-4BDF-4AA7-2882AF9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495CB03-0D4A-DB88-6452-EC527AF1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7AF8A2E0-37A1-6B3D-7986-E0ADA26C8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A333720-8719-CCAF-DD40-AB0AB10BA3C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3225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F8A8-8529-37EE-143C-B7FC4AB3A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F24972F-AB54-C3DE-F1C1-F768A291B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DF24972F-AB54-C3DE-F1C1-F768A291B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E1677-B1DA-CE2C-344E-C8AD8CF43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22BD7-FC0D-327B-1B61-1FA4313573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007510-4714-9D4B-9E3A-0595E43C39B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272640-1CD2-8515-6B85-4E6FAD2537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99F493-16CC-F7D2-29AA-4A8BE4C8F577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E1C130-86FD-F063-EE88-3EDCA08E26C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50468C-A872-D0C0-D83D-91762EAC210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230D2D-5906-BCA3-AD95-CD1EB74C2D2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A5EFDB-1010-5E36-1F51-A51E0F3DB286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2157C-0B3F-9179-34F9-9B11727BEA9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10B0B6-2B38-DB57-8B66-5B0913F43E5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D0FF8C-5E70-2455-87C3-2A5515D8237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3A966A-FBCF-63E5-34E3-4ADC6C89B8E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BDEFB9A-6142-344B-D96D-D2AA944036F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A972A-3483-0312-2C5B-0F635B84EF4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2F953E-1FA3-5F69-7179-268FEE5BB3C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FDA665A-9545-5430-6B7E-64B1A917377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F6978D-0814-B8AB-90B0-12303752F2E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381E26-4AB1-2393-C26E-01FA407CCC1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CF28DB-0207-3836-C8D5-95FFEA929F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EF8AC2D-7E4D-31DB-61FE-406999E662D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0A9D7D6-42BF-E981-AD30-6E88908CE7E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9C7F85-BC68-0ADF-5706-32073A767532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58313201-D03D-09E5-CE25-0B6569A1160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DF18A85-91B4-D34F-8ECB-1151B9238DE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182A37-A19D-C5AF-12C6-D7F4F7B436E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095E83-8117-5A45-21DC-B1CA4E347D5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61C7BF6B-4BA8-A2CB-362A-71D219E156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BAAC8DA-7173-010F-75A5-40CF38F9C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71685A4-0128-CC08-6E54-6B4AAF618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FCB0E13-E6B2-7A17-AFF7-75F8F9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AA9C8CE-A354-013F-46B1-C4F620003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DFBA126-5905-A5E4-642C-DCE23F480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D3221814-F100-4E7D-C863-F029DF37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76DE9D3-33DA-7819-20E6-5E8ED427C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C096C75-7849-58F4-8196-448B42C824E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9B797F-09EE-AF76-2EAD-3AF5D8A54D51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47A82F-0317-78E7-6366-28A2642E4CE8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24979-D6E4-1DD9-585B-0E9B8669EF0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28210D-303A-6422-664F-5728459F9A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B4DA7-6B8E-DE25-C4EE-E474D75065F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9B7F4A6-E0F0-F7A5-9253-63059FA1DD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B4AF6AB-AE6F-2325-5466-9A841A9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94D0E89-5B62-4660-EB08-52E2CF359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73329D5-234D-8A15-DE6E-555CAA115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203B559-A888-42C0-1BDB-36D17208D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B35D5C2C-D51D-9158-F585-5301AB38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D74A20A-DB2A-7B65-3AA4-805C10C8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0B0BDF2-1749-89D1-BB14-A838CAFF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440037C-B7EC-7767-BCD6-59B77D21896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31220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B11E-8A4B-5352-1D21-7BC10624A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F3B783-4A5B-88AF-D6E1-B9A5F309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C6F3B783-4A5B-88AF-D6E1-B9A5F3094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254701-ED50-5105-48F4-AEC0F7D3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BD2DB-C6CE-82D8-A49E-EFAAA0FDF92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86B35B-0AE7-0346-BC5A-597ABF08B17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9304-C0A0-7FF0-58F4-BB400341F18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F0DA2B-1367-5BE3-0C75-EBB3DCB7E8E5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97EEA-484E-7D44-2E93-0B99B476EF82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AC551C-B97F-BA3F-1FB0-88071DF222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D5AEA-DAF3-E32A-F1D2-ED278FC50B5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C97A8B-BB55-3D74-FE96-2AD690E2D8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97906B-CEBB-D714-15D3-B089ED9A2A5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4B4C1E-53C4-C2AD-AAB6-9B347D178115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035BFD-8137-FA59-56E8-F82163271F5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FEFC71-6307-15D9-9EDE-4C364B62F96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5A9FB3-356C-0271-07B3-61FDBD720748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43F0829-DC5B-A8A7-E44F-A8F5349B65A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C04F3D-D408-FDE7-6494-1E28B121719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82B982-5750-CE20-2817-E5D282B077A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0FEB9B-116A-D578-1F60-A26136C237D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379746-885C-DC4D-375D-5B80F77BE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436D28F-42BC-0B02-4E32-2D12D1D1B6E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505B5D3-4338-2E8E-B758-B34BC25D20D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B0BC875-FA19-6A2A-825B-C6B7FB0DBE7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857386-C037-CC4A-3580-8F3F4CD6322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21360EC-D325-AB5D-D241-11C711D7585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43B6D41-FABE-BC6E-7EE7-1436B82F95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E1DB66-E706-74CA-240C-527970D4ED5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1BA71E5-0ADB-D13C-110A-14AB549A3CB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408E95D-D8F1-6031-EBCF-0B53AF2C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5445CD-D5F6-CFB4-F99A-4DE8B2DB5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3C39E0B-499F-E5B5-D64F-DA22C19A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DE65EFAC-B6E3-FFB2-EA5C-6F8F9B4F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A6137F9-6833-70D0-672E-86E870E5A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81C94F-6F2A-0384-90C0-530A211AC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4198838-A69F-6F86-C73B-787402E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FB0DA33-305D-87CB-3E4F-CA7E27A2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B4B0D4F-D46C-E4EA-F6D2-999CDD2ACC4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CF57B-9B34-0B05-22CE-3EEFEDDB7FF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84E40-D4CA-BAA4-01A5-9D121CF0381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C4B561-E337-6588-4338-452F4A0C602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2104E-CFBC-4DD7-7425-084A4C36750C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421A-AD1F-F84D-E6CE-D2288A82F6E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A67A714-F74A-8B65-CFDE-A9B0F1B5F5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5BB30676-8648-F156-B722-621E513E7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10CB27D1-40C2-1300-D6EE-28D17495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4B521311-93B8-C1A7-CDAB-E2AB41C1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847F0D5-E9BA-DAF5-3F23-A93B89A25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B53A0CC-AA45-05D8-9FF2-724B2CE2C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8C31784-563E-A624-20DD-6A815D0D7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2A01E11B-2212-F293-E1CC-E3C9BC62E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DED24A0-2FE4-1B16-C412-C9EE7169537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6211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0AEEC-30D5-257C-934F-8E459030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44D85FE-1356-1659-6461-0DF347A51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44D85FE-1356-1659-6461-0DF347A51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95E132-6DD6-4281-5F95-CED9806C2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674A39-B1C4-3ABF-F81A-83A906D8862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E8511-13E6-7D9F-6C19-40C859677639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FD235-279F-38A6-5A2D-44F4DA74008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3FF3C0-9F79-3025-9DA4-C7DD390EE0A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E2A1A5-C12B-D9E7-A7D7-3D73FA62E5E6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39A79-C732-D4F0-A08C-A8EA06B69CA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E97D90-1CF1-2C3C-AF9A-297444EEF77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E2968-F2D7-1A7F-DDD3-B4636B01774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A58D1C-AA3B-71D1-00BC-9769A5F45A9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2C0717-D64A-9125-E5A0-057E4628883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59796-23A8-2E48-0F61-5B4DE8F8D4B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F85C13-449F-90BF-5181-1EE0DC01726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572C08-DE15-FBC7-1745-881E99E508F0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48D35B-4BAE-63F3-FF95-A49698590678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B3A9FD-4BC0-22F7-A923-2E0FC67A8B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57F07-B844-0AA2-1543-F88E6C81360F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2EE26C-82C9-DBE3-0EA1-A129140AB96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7D7DF-864F-011F-0963-9208AF3F5ED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67D30667-5CC2-5C3E-37A4-957BE803E74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E054D81-E5AB-F42C-4E22-8899CE6B695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DF9EC45-D313-48AC-EE45-24E9B8E55C5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3DFA23B-A24E-71D6-60BC-42A698A3EE3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733-4973-E5A5-08FF-20229E6D475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7F7649D-9DA8-C43C-2E47-C26832DF05F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15689-C3EA-C30F-0DAC-BF7F817AD85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862AD5-B852-50AC-D644-405F7E30C74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0B9AF9D-DCDF-FE6F-F335-18414DF33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8381086-78C0-12DB-C830-5813F981C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968B248-4975-A551-36F8-4A011F2B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65158A37-D653-D539-2040-1F1DAB3E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B90D63BD-E5D9-D832-265F-7231601AC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793895F-3EF0-DFCA-9C63-4EDFB203ED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8056D0-CB6A-E3A4-852B-A402CA71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7273040-DC07-9FF5-4C82-405BCA0C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9FEC756-94D2-31CF-A355-55F88D009DB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35A8DC-49D0-AAE8-C96A-F313D626422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49F9A-ABF0-E609-41D1-61E45247CD39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679289-EF3B-3830-7700-D8C88EC89D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0B98F-CCD3-0874-07B4-65CB0B3B1855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DEBC52-15C2-E85C-414C-67540C5B185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BD22181-F36F-239C-B4B6-2B651FCB3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AA2688E-AEB3-0AEE-49B9-A168B9991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B556C41-F43B-65CA-AF4D-8083EECA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9DCF917B-7C6D-E5CE-8E6A-D7CAE61A3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CB69FCC-091B-3E9A-D966-69AAD9F4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332F6C5-1D62-E34E-FB68-512AB0962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8F864B-A739-2AAA-0AEE-8E61EC040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8B1D95DB-62D9-6F3D-3EB3-2ABF73160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1AB8633-4A90-904D-9F51-440300E0B7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75221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54068-B11E-C520-F9F9-7201F215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95D110D-9465-7172-24AD-8B04C394F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95D110D-9465-7172-24AD-8B04C394F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61FA2-8592-63B7-A69B-9C96B5C1D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8BFF0-0BA7-84C8-42F1-6FB3D0722884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147191-1BAB-1C76-64A1-15E9921DAEAE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5BEC16-D76D-1D7D-2058-4E67A5B50ED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2EB30-6D8A-277F-B689-AC7BB4AF558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3A1211-19A9-A8B3-6334-E30AE5C315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7747A8-E85A-BC36-FAA0-E2F1DCDA6E3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22BC2E-AAF9-0BCA-9B14-0E7DB02C4C3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941F87-F4DD-E7EC-337B-6602D874CF0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680331-47C8-2445-D9BE-0830DAF6594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987AC6-C3D4-81E2-9086-906EFAFE5A72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0B363B-EC74-6F96-AAFE-295FF5B8860B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088C7C-126D-8574-BFE7-5A8C2CF6E9C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C19F19-DE75-6FD9-5E62-5AE153547D87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D5EDF-BBC7-2667-223A-04B76D1D9A4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DC8D3F-B20B-7330-4AC9-59055A8E2D5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67BDE3-A77C-4880-79AB-40E1BB162DD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2A0FD9-3E2A-4B68-7FD0-811EC16106D5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A604AC-236E-F23F-281C-A87C7A811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D66BBA-876B-9E8A-9093-94AD6EB4929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94C174C-6886-9FFB-99DE-599623AA508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D728392-EFD0-D444-6F25-7CD1DF1616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AABD8BE-5625-49A7-1973-F1196F23A1C8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087CD9D-28A3-9066-15DD-E402A61F7E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6194853-282D-463D-5C82-3DBD40A1AC8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732F70-D5A9-8DE8-85AA-0BEEFF5DE1D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3B2A07-3A82-1D9E-2127-30E519793A9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D0D46B0-3B38-501D-BBED-731B29C458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AC36D9C-A45D-C96E-F75B-719BC8745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7BAF7C3-D27B-4C4D-6702-D695A353E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04BE218-1E42-DFD2-4D26-16921569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6EC8625-B085-23B5-1EAD-9515606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7F65020-63DF-2C9F-9A0F-FB630620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BAAB35C-9E9A-CB02-2AD8-52BAAF87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E6389BD-3346-FCA4-7935-E05A2524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914E752-24A2-A5BA-2C33-BBCBC99E820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F191-47AC-DA69-9164-A68E652E9A1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257222-9BE1-AEAB-AD66-C81C0F40941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55C489-DBFF-EB8D-D502-376E8FA1D2C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8C12C4-2418-3B1D-1622-28D55AACE47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4639B-3E41-1035-01FC-3EFC733BF7E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225C350-C77C-AD83-29DC-2FE48AFFA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19ED81-9F57-5240-DB2C-A435FC2B7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BD2F99E-71EA-FBCB-4047-E315D6F5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838AAB6-1109-9C99-1AA7-BAA57EA3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986F519-ECA8-2835-659D-87F317C9B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D888B60-2D65-C309-2364-5B752F1E4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1AAC896-9A62-8145-2531-6192C2EA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12A6E6D-A0D9-7316-91D5-C1FAA1D6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D9BA212-D61D-538D-87DB-42A9D7EA3A5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55318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71628-F0E1-29D8-01C5-836AA913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FB880D7-F706-BE39-BF86-4F553873C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FB880D7-F706-BE39-BF86-4F553873C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56ABD-B0EC-FCBE-CF97-C63D38D37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976493-2937-3099-DAC6-206C29AD83F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477744-DEDF-5222-C343-A9BF64290BA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2BA43-D5F2-FBE7-0BAD-591935C3313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066FE-3AAE-E805-502A-EEA35DB2F1DD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84860-DCC3-EE24-4BBF-B2CBF91851E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5EBD2C-01BD-D282-7A23-189908CD627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6027C-B37B-1A09-9801-1551DE4E1F27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8416CF-4E12-0DF4-413D-45CF5D86B2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43AEA1-132C-6604-DC62-9809DED9DAE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85749-0193-60A4-FFAE-A71BB6B5B42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50F1CD-9F47-F831-AA8F-8E0AECA6DC2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4A4EC7-FB80-66BE-1F1F-88339A64C7A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CF112E-584B-DB0C-40A2-EC3BA062075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CFB4A1-C877-C481-7EC6-1577D9A72AB5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13185B-97F1-6B01-47A2-34477001EB7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D2C196A-0E7D-D637-CF82-45299746C46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A75B50-BB14-7456-DB9A-630914E2FD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4DCAB4-308D-FC2D-8949-1A3A23B392A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0473BD0-4577-1B48-7EF2-FFEA1747EBC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8735886-2DE1-2293-89B5-64AE9A9D3E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748D278-F689-447A-4F58-37A6EBE20EE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DC5EA0C-A105-58E5-72E3-609131CC101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0694A31-C3F3-AD23-2105-5ADF81FEAB5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557B4FF-7E48-C5E5-746B-A37C8FC7480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761B32-2624-DDDF-5828-2CE3F7A6BA4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C896F7-B0B3-718B-9D9B-D5E92F351BC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E03B79E-71FB-0581-4D9C-543881BAE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B29B3D8-A607-5BA7-05D2-46BA0D286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DC2428-D08D-24BF-3C89-BC9561F3F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17D49CEF-312D-8B60-3D5F-4E9288F5B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B122F92-7CE7-EEA3-0E7A-FC14BD0C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286F73A-A4B8-F0C3-83A9-E4C4BEDF4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60B9AF0-70A5-8490-4793-3A96193E3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A28EF64-33E9-50B2-EAE2-83DE55F67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C24CE6-B4AE-3C86-CE78-9950731F539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4976CC-61D1-A9E2-C3C0-28FF364F83E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71532-DF0F-B9AD-F949-4A46C89838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B4D64-C339-96AC-8B41-FAC9CDD52F6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282799-FDA9-8E00-B0AD-A80200A8DBD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E44FB-3558-2A29-CB42-F47B40E91FA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695F98F-B049-5E4C-EE4E-759523CC8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4C07FAE-058A-ECBC-B5B0-5EA652F1E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11E7CE9-9ECA-3FF3-CB0E-1E084FB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8B47AA8-77AC-5FD6-F4AA-5D024A0E4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FCFC471-0706-99E7-1F56-D3BDB9073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F07B72C9-88DC-5372-AAFA-2D683E78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8251025-BA25-AC4C-9ED9-F0535FDC5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8245A86-C6A0-962D-A9C7-1DDCA2FA0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1B16E7A-5ACB-68FB-52AC-B29D2E5C0CD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69579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61778-FCD4-C063-8A09-1B2D6E19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0314A4C-A7BC-3DAC-92A7-189C1D90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0314A4C-A7BC-3DAC-92A7-189C1D90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D7395-205C-27DA-AE41-7B4853B49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3D53-590B-6523-0CD1-F4CFFFFCDFE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80C84A-4317-21CC-65F4-78A618240D1A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CE19B4-337F-F206-B4D6-424E1608912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F12D36-DBB9-A6DC-9590-B2D7E26A5439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41B9E3-3617-22BA-FADD-EB2E0A1C5F0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9D6E01-A22E-28F3-04D7-8E921CBD5A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B6F5A9-5D0F-DCCE-DD18-5C61387F3EC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6EE02-39A7-C1FE-B490-8FA759E0E9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0FB4A-410E-CDD0-CC59-D9B132B9B1A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8BB6CFC-C940-426F-1354-0C83D736EB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85E376-E440-5E85-FC54-704B5A809A4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43AF6F-286A-1F4E-12EB-63CFBE4DA232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35C817-B914-0FD2-86DA-81EE7545E9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A925F4-4AF0-10A9-4761-BB168E6765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A53D71-5FF1-E2DE-C597-6A56CC10A60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0768B-078A-35D7-4A4A-0D24216F96C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EFE3A5-7C93-A3D0-78D0-8E4FE51E971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5977C-D1CF-303C-EE30-D2DC5EADB90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93F016F-3C1F-3AB2-3136-CFB78839EC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9E539B9-B5E7-3C89-3D33-4650E1EA69CC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A4A6F53-6CE3-5A40-6C7D-B7BC240B50A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25353A8-D280-1862-E69D-5065C3E8CB5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BD8F075-A8D6-1A2E-C802-5E6F1B700B52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96C5185-0D78-1281-9F86-3CDAF2310CE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9740E8-B6FA-ECC2-9DF7-99F6BE7162C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0B58B0-3916-72C8-0D54-5BA853AA5124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8274183-61DC-6E52-E5CF-C2C771C23B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D708B94-926C-26C5-4BC3-AD073E962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DDA4A2AB-58BF-2394-E458-94B99A95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1B9F6AE-C4F8-7EF1-625C-228C42AC7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AB85FC9-013F-8159-F534-EA9A19CFF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F5DE66BE-98B7-0558-B3ED-566FF27A1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C8311F-D9A8-7E68-664A-79D1038A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A5A3399C-C7E9-4A89-2CA2-A62B2BD6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32CB5D-780A-D8D9-E73C-9E1679AF8C5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D38C99-2B3C-597B-B856-2DE3114059C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27E84-C2C6-F796-0B8B-BBEE250ED1F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B5AA47-903E-8969-CAC6-50B481983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B0676D-8DB5-59AD-91B1-A82EB826F17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4D790A-4B1C-6D0D-9CAF-BAAA19E9EDB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BE1A8B1-9BED-56A9-0EEF-AEB8ACA496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275A32-AF56-1399-08CF-0D9CD50BE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678F5F5-EF9D-A4DC-7AAA-BCA22AF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55CC7A4-BD1D-58FD-75AB-9A6640EFA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757C5E19-562B-EC90-BB88-1E4C3D647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7C045F-15A6-DCF9-45F5-9485AB23A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11C30D8F-8EFB-B176-8542-ECEB33B2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9EA276-9456-9DAB-EFD0-395B15943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34A56A5-731E-CF8E-C536-BCCF1532FB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5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E2985-A1AC-FD1A-B30A-AA00C8848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9EFCCD0-3A33-5334-F18F-04869905F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9EFCCD0-3A33-5334-F18F-04869905F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903C3E-990B-34E7-74F9-94F98EC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03FAF-324C-4248-7261-E7E7CDB3B27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45C0B1-55B2-9B09-EDE0-45C7C834B7D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75DB4C-6958-5873-E6C8-B354522691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E66A53-59D9-D7DC-69FC-8AF957C3E6C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4FCF9-A734-3BEC-D9C8-EC7EB070648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CE2EF7-4C1E-E0C9-AB53-7195308E12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ACE5E-EF2C-6767-C1AB-84865A974D4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0C66-1383-D815-AE78-D6DB71A14F2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5294-9A73-53BC-EFEE-33DB25D7757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C4BDFD-E2AE-6096-74A4-9938F6D8AF1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DA029F-8E44-43F5-B242-E3437133D2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FE00C8-B67F-3973-3D7D-CE992AEC4B8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1F9238-F3C9-C246-7ADB-FAAABC616BA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A6BE9B-36EF-BABE-39AD-7407B54D566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F67BB8B-9F18-E2F5-8BF4-5276BBC9C54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D95549-DBD8-4861-A7A8-45F9739655F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8A379C-43BF-2BC3-C121-63D84EE27DA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356E0-45BF-9521-19E1-1ED94CF3BF7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247AA21-778E-EB1B-4F44-33F6667F32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4D911DF-7E01-E4E3-2764-6F1DB51D4E87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093FDB3-539B-ED53-B22A-7EEBE83B9BC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90FB3C01-AC68-7590-9724-AF412BCE770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A914E91-6BC9-260E-B8B3-F7BDCA315D3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0EB04CF-F845-0E9A-FC77-41D487BE56B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88A6BA-EBE3-7737-77C5-62213058CEC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045D03-101E-166A-7E84-B1F840891EF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EF81DF9-2F4E-ECAF-A099-E166D58054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88C7EF3-3FE7-9F8F-1922-98D3C83B6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075103-2190-865B-66A0-C108A68A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A250B49-D11B-9533-80B2-BCEAB315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86DFB17-D793-B23A-4D59-40230673C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3A0868E-432F-9517-8B33-5BC0EE9A8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1CCB6E8A-15D7-383C-DB4A-FD624B05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0126FEC2-6BA3-44EB-9D55-AFCD08F3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3B6FC-ED24-635A-F780-55C5ECA1960B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FF2147-1AA1-6316-36AB-04DADEAC32F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A7D23-9076-3BEE-477C-83F12710E9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B7EB8-2F5F-B431-A91B-2E5FCF2DD8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4BE86-E59D-2769-3441-9724EEEAB040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91FD84-E2BC-F75E-0302-77D4626E1CB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09653A6-089F-4EBD-162D-C2C401BDB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EF28D6F-34AE-6654-C7B7-538AD0F68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E3A6A43-F59E-1325-F5D3-B4252C98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A1C9320A-D8A7-44AA-F481-1FEF709B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1E299E2-E0D8-F6F2-F2B0-E4260B1E5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E76EB61-BF97-CBF8-7D35-E4B0C3A47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FABB840-4DC6-73EF-5492-1813A5B25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3FCE34DD-3E9C-B797-AAE3-6C1C2865A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5E14409-D575-723E-AA8F-B38B78047E17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2135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F1DE9-335E-2EE5-D230-3DB09BECF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F4A6564-3903-83F8-CF5C-7B5738C1D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F4A6564-3903-83F8-CF5C-7B5738C1D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840AC9-2D35-4E4A-3FBE-CA1B61E5C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C077B2-D7BF-36AA-4834-7F509774A27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75FAA0-E5ED-C955-0B96-8CF22E73B24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C712D0-3D61-D30F-2A2E-FEECA65C135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B7433D-BFBF-E654-17BD-9614A7E6C18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03636-0584-1FA9-8918-D7C262A78D2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721892-3981-90D7-1A0F-DED0201F82E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F1CD7B-1D96-DF0D-0EF6-FA98E20B937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1875514-24F7-F685-45E0-F10976713D3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02616C-CC09-89F0-A82C-A05D7C5DBD9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119603-0B52-2A0A-9E74-29B06129BA5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EBDB85C-D508-7AFD-57F6-845BEE2F87A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A5B4D58-934C-231A-A254-CD99D15F968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97A224-39E2-8044-43ED-4F0B86666DBE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D54F3DA-2A21-8006-9B9C-82E239C02940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2607EA1-D210-4E66-B2CC-C305D26EEC0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4082220-C616-7179-1173-C353486DD152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3339D13-1776-0E3C-3673-E4F18DE7B9BA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2516F1-E60D-AE52-073D-6282563DA42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29785D3-2CF4-8B51-7AA9-25AB6D9ED3F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904AAD4-F4FB-FF93-187E-1F8BC947D21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983D22E-792E-0791-F0F5-25B93E67208E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75D487F-300E-0E8C-2C92-EEABE52E9A5F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6A89D8-DFCE-2162-FCC5-71CEF0F2D1C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4C0DA14-8ADF-632D-CC52-3C7F4EC7BE0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2333A8F-6EDD-C4E7-5737-D66F55CE3FB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A9B0B12-3C7B-157C-5002-1E244872FD7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8FA914EB-AEDA-87B5-65AA-AF9965EF07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9ADBBCD-3BE2-BFEA-1D16-8D0AAE849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D4923CA-25F9-EA03-702B-7FF2B527C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58F933C-417B-AB26-AC6F-150889517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80C0B14-C157-7C7A-3896-23B89F5AD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C1F6D15-FE7C-7E58-A567-F6547FD17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2F6AB6E-DB43-CBA8-D377-88B186FFB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59187EF-79D3-8DAF-E481-7B04D709F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09F1068-DAE8-7AE7-C4CD-CDCDF2AF9ED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4405F-5A55-F8F0-ACB1-4D91B5796FB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DA43F6-5684-6D98-3F2B-50CBB55BB6A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96C3C8-CE90-664C-8B08-69ECBB186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F9F72C-E1C5-C830-EE1C-B8D153646E6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4E4599-1321-753B-13E9-6506A410547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E12863D-7D97-E8C6-0FBD-DF6218ED30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7835CEF-D94D-79D9-1F0E-DC9B74153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4AC94C8-3B40-A3B9-62FD-EA9760168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E281B63-EBC5-3D6B-DF64-B3CE92C95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C9EEBBD-D904-2ACC-1235-360F18840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648AF67-4C7D-4AC2-7830-7370F191D5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6C0C7C11-142A-CF31-D08E-C9499E324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4F43C8-1134-876A-9747-7E7853F9C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86A7C11-E6B0-4097-72DC-597B6E9B0C8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9054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CDC286-2443-05A2-C361-F93A0F4D3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114010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8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22F19-164E-F18B-683A-02CFC4491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90DEB6-6F85-33D0-A8CC-167C77037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90DEB6-6F85-33D0-A8CC-167C77037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D155A1-694F-C8B7-87FB-813CF62ED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ED105F-1117-DBA1-D2EF-68C7DCD9635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50BCD9-76CF-4EBA-A8D9-2597148A8F6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CBAC8A-3644-9531-CD7C-A699B4DBCDC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C061CF-BDE6-B080-3096-2FCB4E554FB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F252E8-641A-1C28-5F43-0619E20A8B5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A8B0A3-C33D-A252-4884-B5D5FA25544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FD9F42-00E8-1FEB-8E29-2598EEC62DE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32CEAB-FF23-C71B-5450-3406C5F8F90A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824AEF-1785-F4FC-73D7-DF21C74E8541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671D443-1A37-2F77-0BAF-0410DFC18C4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182907-9797-3B28-C0FC-D4AC3B2666B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6B953D-62B6-396E-2415-C92ECD667CAD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881F219-6211-C514-E255-1C9B4D72200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0EE243-24C8-1E97-272B-0219B5C44A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873FEF9-0F78-C7F6-156A-D63ACC55D7D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BFFE06-A228-827A-0C2F-6863DE4D894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55669E-6235-79F9-7B33-F8A74DE5273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8F8A3B-5655-572A-1CB5-4AEA6BB08AF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473620-107C-DA20-C07F-477CA2F154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AE24FE2-3F52-15F1-D6E3-A8DA4DA08DB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4A3C1CC-EB24-0611-FAA2-85BE8180405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9D4B4F3-FBAE-0EC5-16DE-F2A15B975D4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738451-B61E-E7DF-7945-A71B9C72398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A0693D-A9EE-3D60-6493-A7718FCB355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EF1F41-B6D7-A212-CF34-35C5A3ADD0A4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506940-9F39-98EA-539F-E4137E2CBFC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B0A4AD7-16C1-1D17-8608-EF09E0BFFF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6BFCC85-F39B-9E14-CFE2-36985AF34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7FBB73-E68C-7366-789C-0488643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7D11A39-6C72-222C-1192-7E736DD13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441311C-DD2E-A9C7-6330-0A66B1C6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CB32047-7D94-A7ED-973D-60054A59A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BED567DB-92C6-40E1-03E1-08A4F43C0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2B2E199-4C3F-48AC-9EA5-C2B2EA4DC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E3C8292-3A26-5F8F-51DC-17D2CDA5CD8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7E0824-054D-A8DA-4669-C3B7C35F0D37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E362CD-51B0-FE60-A801-549A6B83C1A4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67FCE9-D32A-3C3C-F064-662B7143AF2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4E729D-8C80-5B20-F110-D8BBA092B11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A46B20-D2B3-6E7D-3515-68C09429CFC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BDB96E5-1E69-BDC1-A5C7-77387460C9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CD8ADFA-182C-5B4E-EBAD-43A8A2EF3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BCA8C36-1F69-D95A-2AC2-051311812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BCE5B29-E9FA-E2EC-C803-3AFFABF66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ECBCDF2-FEC8-90D6-4050-8D7882860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99A8EE-DB83-941B-03AA-325EED19D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E76FD92-6A9D-2BE5-EC38-4311DF0EB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507C722A-7946-ABAC-252C-6662A6B27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83C052-D73B-127F-80F2-AB4E1340498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07820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FA96E-EB1D-9D39-CC77-A87C502F3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7E3F230-86BD-1955-0F29-7FC350BCC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7E3F230-86BD-1955-0F29-7FC350BCC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DFC0CD-FCF3-FBAE-F076-009AE364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B8F159-6E5C-4028-F481-9EA67855AC4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00A584-9762-FF32-8C99-16F5FB71455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05AA51-FFA9-BA83-7E9D-80B493932C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2A5156-5319-7CC8-441B-E2F65367E7A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93CF8D-EB0C-C7DB-4016-243F3248180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4CC387-6B50-030A-B5A1-01A13DC48D3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5D43BB-E3A4-BECA-9D81-05B2D096540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788386-0941-DCF0-ADC9-FCFF5C3BB96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7C750A-045E-C2A8-17B1-5E773271AB8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EF85B8-579A-8FB1-0B33-601F14B4E52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798D92-ABDB-2BAC-60B3-11CF1300708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409E0D2-EDC8-313A-6533-59007E837BC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56D68E-0D2C-9B84-E245-D7B650DD1B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E69D80C-1B87-117A-3DF5-23BE9C2A140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D3E313-4D4D-3084-5D6A-645816B3986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6FB0BC0-C5EE-3E5A-E226-1C7B56CEC0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02DE65-7421-D92D-E1DC-9777DD77E67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94ADE5-B81D-BB89-3141-85909BA7DE4B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742F4F39-6242-FB46-CADA-CDB0F4A58B0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650B836-BB44-F84B-7EEA-B1C31E313D8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2BA55FD8-9265-CAE6-DC17-56BB7656367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9655CE7-FA8A-7BDD-25CB-C3B6D23928D6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66AB76F8-E903-C30C-8364-102D28FA04A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611D002-E5E9-D615-77C4-FC0A0AC26BE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B875A98-711B-BFF7-08F4-C43D2D304F75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C618AE-5079-77F9-49B9-58943C8F287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DF5F823-2242-FAAD-0633-593155AC54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1763647-6A4B-5B5D-A887-26C362776A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F9B65E1-499C-6D1C-3273-3A90DD70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B235BB8-F227-ABD1-559B-E5331399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1B9B888-794F-4475-F2E1-05FB0A5A35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82C1FCC-0502-1DF8-A8EC-B3FB5F701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BA0E2D4-E23A-A52A-7434-9D3C846B3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B33A0DF-3397-CD63-8F72-717DE0854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A8DE8BE-F672-A86A-B06B-DAEA4EB1B0F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6BE138-E20E-9702-D312-07F7B559B4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51373D-D44B-C9CA-A36F-9C1436EA6DC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AB7D45-85E8-3A5A-3CBC-200154DEE9D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4D4A69-5C03-2EEE-5CEF-D16C625D0BC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7B09DB-210E-4AC7-31A5-FF00609D563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9DCADDCD-2612-3822-EB7B-34FAEF576F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283528B-4AD1-BC69-5E67-FC6E3E51C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B79928FB-FF92-2F9B-DEDE-EBF408B1F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BED4B61-8962-58A3-182F-4E939A5BE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71562A3-CEEA-4020-7740-61A9AA8D8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8F4070F-D8A1-754E-2C77-4BE3C6DB38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7B5E7E-2F90-93B3-C3BC-254B14EF8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FD2F2F8-47C3-4C16-658C-B45595A6A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DC83E08-EF36-67A4-7C15-85D85F7200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3482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438F0-AFFF-21DD-828F-42041B85A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5C6C8A86-A848-8274-4A5B-E01F85008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5C6C8A86-A848-8274-4A5B-E01F85008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361141-683B-3765-571A-DC26A0DDF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3B7A43-A7B6-EB9A-8EDB-9A9ABC4AE91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633674-CA10-59AA-3411-B3E30EDC705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BE8B23-3593-F4BD-7746-1C423BDED18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D9776E-F9C5-6A57-F967-128112D9FEE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4113A0-7EA3-025E-50B4-F7FCD8B48A01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E4EBD3-AF2A-A0AF-E82A-5523C8AD4FE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37E3CB-D020-0F16-AB4D-4994D43CD40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97EE62-8836-8F9B-18CC-CE60D7E79BC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293120-7B2B-5690-251B-89672D234EE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98EB434-3516-E4BF-608D-D795685C99E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0723E74-9935-EAC7-BA04-5254BE4ADE8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E7F82F-B21C-BE10-3D57-CE5178FA2C6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546FF4-8268-45E2-E843-407FA056090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643F717-6727-454F-F4E8-026D292DC3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8988F8-A5D2-F97F-307D-8B23D627767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36D98B-5F98-D490-BD1E-69E6AAF5FA14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98D18D8-8E58-9372-4903-11E28BB4E3EC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0C7B39-66A5-1F31-2B44-545A18192D6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F33DC1F-E1CD-8B8E-D010-F7A6443A900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21ED7278-23E2-7352-8674-4F77F64E2728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8328C581-34D4-4735-DBF7-DC855361CF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95399DD-72B9-703F-7960-39614A2C5173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769C6B1-81DA-B337-DA7B-BCCCBCDFA6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A603A33-9D4D-E46E-AC77-BE03105F803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43A0EB-0248-AF13-9AD6-ED5304A68B7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DB8CE7E-208A-7C66-BC61-F9E5F4D486A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C99460-7DF1-9F17-000D-463975F644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D01E5F-24CB-6AD6-1ABC-5F8B4BAB02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15C4AF7C-45F3-8831-E3AC-B883F6A76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6D13D90-021F-EE59-327E-D81176F2E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4199415-F044-B58F-8D28-32CD54EC1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0F6DB5-4631-3FD9-7D34-FECE5F7A0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CE56E138-95C4-9D53-FEF5-DC887032D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AEC4161-011D-C845-AE03-5EF146A77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53B9B1-55D1-CA54-BCD7-307FD887D69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A7FB6-D062-7FF4-D2A4-C1EA3E8BBCC4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95EAC0-DECE-E846-EF00-C57BE7BD6EF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560393-5646-D8C3-C0A1-9D385E8E938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AABD0B-50C3-FC78-7023-B967D8E04D6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ABCE32-CE0E-EEB6-F230-9507B66164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321E1D4-CCF8-75D1-F4E4-40278BFC36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058A831-325C-58B2-1AB3-97D3F624D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5A57D72-5842-A3C3-6A79-A3461D30D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F6DC540-5B6A-C4F5-C35B-1600A02A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FE840654-83A2-E339-AE25-6F1DA8927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E002AFE-6F1A-2760-B969-37A2A433E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D206199-C2A3-2DD1-0A70-D91276C74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2940D-1570-F97D-D1B7-5CA142C36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A874FAD-13B3-EAE6-DCDB-32C16D1EC80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22015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0D554-5079-A7BE-4D72-CCBFDCD9E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B7C2C9-2B09-71BF-2587-11C7E2D98B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B7C2C9-2B09-71BF-2587-11C7E2D9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1DD3FB-88A4-133B-9605-3E87D43FB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F315AB-5910-F683-934D-255A73D09A06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A06126-D4D0-30A6-D5B2-29FB6269B28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8C7025-51C1-88F8-6387-9C82BE064D5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4ECABC-E925-67A3-5572-7035DF047531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A8E0B-AF72-27F7-1B3E-25D8ABA9424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65FE32-E84E-06B6-2CF2-4ED728E8FC3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573C5D-5194-C5B5-0569-6F36AD5282A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55FB86-9F9D-B68A-A308-A7FDE20F027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B37432-8797-C186-193D-7A66FE1152F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58ED7AF-636F-38D8-35CE-DBFED93F8AC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BC3990-856B-E0AC-2279-56B9AB64F2ED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3D8D7E-EA8B-7CE6-209B-729ECA3A9B1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C1D355-BF2D-6488-0CE7-EDD480F5BF6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4E40A-032B-2859-3C2B-68830F71B5D4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7CE148-A968-A86C-2BE3-6134D931D8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B1D9D34-4455-14F0-4185-A60B6E44BF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0301149-B9CA-A2BA-4A2F-7E9FDF3FFB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188157-CE2F-715D-481B-63FB800B6A8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8FFEAFC-2385-A77C-DB1D-91815A0A77A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767C46-723C-8282-6BB1-D57EBE47ABD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DB33C79-FEDB-398E-839A-D31B701D6CB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816BE4A-0D0E-5CDB-CBE6-8491FEB52C2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A16E5BE-DB1E-764B-78C9-18F46D1D142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081FE9C-355E-ADBD-C8C6-8FFD9804358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5373FE-77C0-331D-31BC-DA08BCAB3E0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9E60C3-49EA-11D9-EBAA-070AE96FC6A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AD99C6A-0C2A-E97E-588E-E8A05EF0B9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DE8673A4-2D66-2055-C52E-0389C6E455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7A45FF-38FD-5E1A-8D2D-740E3378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771B7424-4AFB-3A87-5326-CBAE04E36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DF55AE6-007E-036B-2980-E720E34D13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62A0B1C-2AAC-AC92-42E6-80BACC24C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871D5CC-D90A-FBDA-8405-A2E2B1D85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8AC89814-FCFA-F271-0B70-782DA9BBA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B2351E-784D-86C3-E1AE-BB3B22E7F27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446223-6BD9-201F-4D1B-CD1F3C7CF04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0848C1-4DCA-5132-9FCB-F7514CA08F22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8B1F93-597D-62D5-F53E-E9A2534B860C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4B0827-933A-183E-BF0C-3AE46277E72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9A86F5-52C9-DC96-36DE-C228C5D00E3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29F108A-1AA8-F237-23D1-9F782A816B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8E98362-FBF5-DDC3-51B7-68F924B4DE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CFDF6E8-5525-42EF-FEE7-FC173CBF9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70673E1-E850-F9C5-3AC7-3E6D6316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313AAB2-1B5D-5CE5-414F-9DA021522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3ABB696C-FDE2-872B-6184-3A2A48C351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56B7BE2C-13CE-6781-4EA3-34A312605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C22CAEE-DB33-4FDE-32D0-667330FA5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BCF2FD8-CDD1-854D-ADD0-84B834FF1A3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15592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821DF-B5D5-5EBB-AD03-B36018936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E1A82CE-46EE-6577-FC4C-C666A6FA7D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E1A82CE-46EE-6577-FC4C-C666A6FA7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1362C-2A9C-4A66-4689-F9971452D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D6806-135E-D456-7D1A-5BFF64B33A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A2FA9F-0189-5703-6E27-B3E853B7246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4862F7-B327-C27D-6D2B-E5701B209F2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403965-85F5-5472-F139-129B6A618FE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4E034D-F1B2-5DE9-6057-30C591B1EB4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76012C-BBD4-60FD-4940-77C18A2D1A5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C7EEE1-168C-B222-DD30-7447ACD0B0A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9E5F1C-8A0B-291F-91B3-27634F90CF7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9C7F3D2-D105-2650-B8E7-A75549986E3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94EF7C-F089-51AE-C2CF-393609FBF88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9BF4B9-0EB8-C06A-43D1-1DE26AE7968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784C92-455D-D276-25CD-385D600F231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28B72D-822A-DC40-1860-F2031AA45EA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9C3AD8-A401-B9DE-0C95-8ACB499A35D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F37723-4F17-6240-F051-3E47C0A066B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E714654-C7AE-1860-642F-744EEBBBC7A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B9A417-475F-0C79-AE7E-705A68FB8DC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239553C-7BAE-FC8E-165F-18919F496FF6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E5E7EDB-96AE-D60E-51C2-EF1530FA062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50E922C7-85C2-C8D0-6996-A2027C867BB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1BDA1EB-5FD3-D725-9071-16090B1CA4B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B5C050-B311-5C4B-676E-330B430BE9D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0BDEC78-981B-06DC-1638-2634117A92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C1B0014-CE40-0877-6E65-E65BC6BDAE1B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01D260A-33F6-938D-456D-EEF5C6218F0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65379D-A0CB-23A0-4BA1-8A7825E8105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877C34-7E33-4255-E464-503C35A9F9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CE2562CC-11B0-0F56-E7A5-863F779D9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BC6EC0-D8E2-6373-8B99-FF1672DFA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7D4B19-D05B-F287-52D2-5E2D9E7BA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7F186CCC-EC70-0089-C73E-2158C8A4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58AAB9B-11FC-89A4-F04B-43111B2F4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3EC3F085-0923-61B6-5674-39DAE28E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B152A331-74D8-99FE-AF01-461BE4DF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75DC789-377D-1AD3-3ABC-826D5F1C3E3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48D9BF-8F61-5106-F6CD-4FF8696F8D6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14BC13-0FF0-D453-53BC-3173F739C08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1450D8-F7D4-8FB0-354A-5693D55C158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D8CFE2-2E37-E884-C674-FBEF044C5B9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BF9C7D-BD1C-F27C-91E2-3594D531222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8E16855-6BD6-FBD1-0273-BD878E8F03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8842676-D054-EF2B-36F4-F714117FA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3BAB32A-1B57-5EDB-B5B5-7A49B25FD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981CFC6-50F8-1C3D-1833-B51FD0586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F98DBBA-21B9-B82A-E1F3-D36D6220F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93EA41C-C6AB-CF76-BB85-E2D9C8F0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57F116F-3CFC-BFE4-8609-43591D162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BCB6F12-15F1-6F0A-23D8-1009E2708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877F07D-5356-F0FE-73AC-0FB6FDFDD53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310292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1F094-4CDF-C074-6690-A722B4141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DDD9DFF-D672-2343-90DE-6FF71ABC5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DDD9DFF-D672-2343-90DE-6FF71ABC5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3158B0-6EAB-E258-EE3E-0F3464AD2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1082F5-7026-A1FD-FBF8-22EE667F999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E3D05B-F42B-DA8E-E41C-AC8DD7EFCAE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C614EB-0882-3B24-D41D-7DB72AEDA77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3A96D0-709F-B219-AA80-915106CBBDF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B53399-1CE3-7821-AFBD-0D408ED53B5B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18EE42-711D-ECA7-0170-903A156AB13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3A96E6-41E1-520A-7694-88D1D70CEBA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881373-2AF9-5A6D-41A6-6C4A26133BA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FEC9A1-A8EE-05FB-7F59-EFC3EFB66EA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825DB1-4213-1E87-7348-A80D17121D9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A20295-A10F-6107-E668-EE84C8AC724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4A2CE83-86F5-7C9D-8B84-3C2AB60E490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C651E2-54A0-1845-8A87-4B1EC0CC45A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988AE5-5A0C-ED32-684C-FF00D5BB0D8A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2A45F7-EDFE-D837-826C-4D2B91DD91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723A47-7BAA-D054-8903-A8D547A16777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6FCC815-6955-2D9A-5BA8-0DEDCEEC5399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A62D425-EBAF-33C5-2AEB-82D28AD52DD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2A9B02E-EF8B-EC0A-614D-93FAE413509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015129-FA6B-3B3B-A944-14714722E6B4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740B7E22-54A5-E68D-6DEB-847B08FB65B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A9CC27A-6D74-BCA6-E6B8-281F5BFA68D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B9AE71-F9FC-BDDF-546B-63D5582759B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E094350-25BB-B30A-AC36-AE1F1405C4D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93C3DE-23AE-5E0C-87DC-9087D7B053A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D6E8F9-8B1A-40BB-4B74-2358C251F50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7AE7DD9-C7F9-2BA4-AE35-B8E7A511C1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3863AFE7-2559-C8A0-7175-69746BEB79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58C4E65-3453-8F42-D792-3E9002DB9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9CAFA44-1C93-212E-5E61-73BCD3F44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3150DC7-9E43-0611-CD53-7D36034446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166012-6540-C22D-8CA1-392CF907F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ECCF15F-DC85-CC14-8D75-9E69256E2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B5935AE-E843-5E3C-AB66-CCBCFD1D6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FD44D59-7B82-83C6-16DF-8B505E81A9E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F20716-AB14-E938-29C6-2DB25DA9FD52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9C1D58-EE6C-A549-2653-10D8713C569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9EE75A-EC1B-EF5A-B694-3A6C46312F6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17225C-03B0-A5CC-62C2-CF496D07C40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5BFA2D-74ED-7FB2-E848-833FD7AD453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B9CA769-E25A-D7E2-EE5F-92C34156C4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67D426D-6969-CD5C-128E-B9BA25345F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BF5DFC4-A3DF-4941-C920-250246E0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BDF1917-5922-A2B2-DACE-7DC8D2B17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EC4FEC96-3360-10E5-F86A-8B0B2F74D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3C707ED-3464-C5D7-E630-249B757F1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94B917-1F51-B6F5-3E81-DF65F540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53D9BB-7448-8AB7-B0C3-76D7D8B6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5D554AC-4781-4287-412D-DAAE4573C20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558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C3E9C-F0EE-AF49-885C-11150DA19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32C8D3E-4AE5-B107-B30E-A3B21211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32C8D3E-4AE5-B107-B30E-A3B21211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3576D2-B46C-D799-4BAC-9A910F06D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3D0EF85-1833-A2F7-5747-B13C5E16370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5BBFC-D4E5-2BDC-9001-60CF6434E51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47ECE7-E354-1855-6434-15F31F62ABA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CE6DA-51C0-00C9-6A11-8040DBA193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E397CA-4E98-6B92-CBF0-D822C1B3595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976413-0B15-B241-5AC1-AFD5E9236AF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EB68B0-3FF3-7499-C83B-47DA16BC19A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B54100-5C2A-6C59-D694-4E37635A5B5C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8EE8152-3679-D69F-600E-7C4FA53A533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87B4AD1-3E0A-EEBE-FC3F-B594F9D05E18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C573320-6E20-5663-430D-25D29EEBB1A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E1E9A7F-5B3D-FBBD-FF25-22D3097B653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A41CFA-B0F8-86B7-43E6-597D3E5DDDD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0BFD6B3-3394-DA0E-101D-F2E77B70485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9BEAAE-1A35-13B3-4C28-ED94EEAADAF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4EC0439-8215-52CB-3244-C99DED06CE8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67D3ADF-77EB-B253-D510-9370466F0CD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5312FB-D54C-A30B-00F4-FE0CF94DA21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EE9566-E783-2CD0-D8CF-F099240C714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8490B99-2454-E3AD-013E-FAFF82BBFB9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2982E4-BC78-EA29-AF29-16098AEC883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B57E795-5A9D-CEEB-96AB-119BCA05616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004E0DE-84CA-A4C4-8AD8-6B5B8DDED6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7FC4CC7-6B8E-64B5-9009-30ED541251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6D5CE9A-AA36-4593-465C-2002126A23F3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DBBEB6-1FB0-B701-58D9-D6F6CE5CDE8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479628A-0492-D027-AAFD-93C797FD99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5775480-DE99-5D7A-40C9-9F8891355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C148988-A996-9FE7-0BBC-86D350063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F10FC5-65E3-A665-0D22-29C5C9F10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8098DB7-5A84-F205-EFF2-086A5E836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5713E3-4823-607D-BF67-DA16FFF8C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9D8504D-08F1-7A6F-F6BF-55945443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85C2165-BB65-7879-2A40-88BD2D04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EAFCE0-30B4-5E88-2FB5-DF9FC487821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19C801-2143-3C18-C015-93396D2EB8F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8350BF-C9C4-7F47-5888-B101F389393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088EA2-EE26-AEB8-EBDC-A868B6530A23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7A1844-DAAC-E78B-902C-B91F9626456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10F407-BAE2-1D06-A8E0-83119D44A23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D2904FA-0F9B-1DF0-F795-07B1334C44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A423296-AEB6-AA06-2AE5-4C119E29D3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7C6CAC5-EAB3-C757-07FB-A8708FA2F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E2B91-1C44-4145-77C2-71AA8E5A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578B1B4-0842-A5B5-A771-2DE3DA4D36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7B0A1C9-B1E2-A9CD-BCA7-E8AD7BB45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378506-D6CB-7286-200F-61D45CA87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C0C35B-E0F5-68FC-0C5F-66B41E057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75BEC1-6010-97DE-721F-936EFDFFDC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47771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648A0-84F7-1C93-9130-CBBB521A2B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6DDF57E-D767-4604-5B4F-98B7602E6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6DDF57E-D767-4604-5B4F-98B7602E6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80EED-59B8-793D-EB69-E0946A1F5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54EAC6-333D-42D6-FDD3-76BD1C16EF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443918-0553-FAE5-0E1B-396510FF264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1BA6E1-9A05-301B-5EDE-442CD8295BA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C844A1-D664-026D-8F27-854CBD36CD9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62CB8C-204F-DB69-4B9E-7C0934AAF59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07C4D0-7689-FDC2-B639-6FB8C3AC9C5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CA34DC-E190-145E-340A-D72DB164289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0947F6-D126-9105-FF7D-574A0CA2D3C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98BE53-691E-CC4B-F52B-6E95122A1C4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7DD433-8F1B-2374-F816-94A470103C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7C6896-3CE5-73BC-DB03-28E0DF861AD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1C06478-5263-BD69-FDB5-75918ECD389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926BF4-F03A-7B46-31D4-671DF1781F1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33CE0E7-7612-5104-3344-AA6830F0C1C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8FCB28-B88E-D6EB-DE7E-B7097A88ADF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DF632E-5ECE-4863-173A-A096C0191E5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C2E9BE-65F4-25BC-6041-EA1918C4031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00BAD88-4E58-CCED-6191-D9D6D95D031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7CE633F-9DDA-B1AA-87A4-BC6DDEE8AC8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A02F886-771D-51F0-70DB-8C1242099313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576C8352-A926-0CE3-84D4-0FC55B0996C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2DCE3C9-0D49-B320-900B-F46F253FB9A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6EC4815-A773-B6EE-D428-2432376D2F8D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DF3445D2-545D-39A3-9D20-B9F4D83619E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B0CD0F-63F4-58D8-AAAD-744A6CA656C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E904F2-5BB2-935C-B944-96BC891CA6E3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24A2B9E-7BBA-8179-3996-30253ABE87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358DE48-2416-4285-771E-1F851C33C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BDC4DE2-F884-444B-A733-524AF616F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63E8C3B-9EC5-6456-FCF9-FE18956FB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DF42E2A-90A6-A7B9-9943-C0984FE39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07EB4F95-5F3A-8157-2647-67C4AE891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4C1DE77-86E1-9F1B-289D-2B5521F92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FB4595EE-B887-1B12-D65C-8A6FA2B6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40D443A-E73C-0A8A-10FF-07B2FFCF0FC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01CA42-1DD2-ACE3-B661-4C2DD25455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02A613-835B-486C-8EEE-05D0758BDAD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1AAD14-6DF8-3B92-1E02-E5F68EFFCF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7118CC-B1DC-21A9-4526-2ABCDAD1DAD2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4D01EA-8B32-ACCA-82DF-26C0616C53DD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9356E26-E61D-B885-8E2F-827A6294D9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0ADE990-D475-5B47-4D0F-227C1675E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2E61893-24D0-0B45-3D9E-034A6B6ED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4AE35A8-33CC-546C-941B-4218E0163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032FAC3-CE2A-5F18-B4B8-70128F30A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4F2C6D9-183E-EEFB-58E8-43E687AA31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4B609B73-1ADF-BCF9-431D-EC969D07F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61142D-B899-14B2-E136-C18B521A0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04E82D8-519B-BC62-22F8-45EC4C9DB56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3705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915AA-892B-CA49-264F-429894B89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5B1429B-0C78-02DB-07AB-77EADAB9C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5B1429B-0C78-02DB-07AB-77EADAB9C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55DD5B-2FC0-6BDB-7BB4-926A22137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275938-83C7-AD54-1CA0-5ED9DB5415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48931E-E980-8B0F-EF5F-C8662D54D42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D9A0C6-65E7-50BC-297D-8AC7097C6A8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12B4BF-CED9-72CF-D6AB-30A4F178D61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756705-8FBF-9EC4-1054-D4B4415A0CF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FD0D4E-9077-C6C0-B95A-C4BE92A261A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068C76-5C52-5C6E-47A5-90C7BB583921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6518F0-41E4-6DDB-1AD9-345F4340C1F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E38988-813B-2C75-3E7C-F7100A84099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DFF4AA-C704-2680-2869-E90B8F7ADE0B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B6504C-0135-7A81-A517-3D9AED9A5F9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24A8C13-8EB2-3CB4-D8F1-2A53C2254C38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136031-74DD-4FE5-2893-27ADD10610A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8B6DD46-BA54-BDBE-AA47-5494D7EAE18E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712305-7590-79E2-0973-38DA1C39EA4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774CB6-553C-D017-3B90-3D3F91CEEC9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2B6AB58-9C80-DBAE-6E70-A6059734B35F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A00EDE2-928D-B3C7-F1C0-54B5333DB4D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B4F36B51-D8F1-93F8-80AC-3B3C864B6DAD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A7A14EB-F1DB-1593-7D3E-9135229AE006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EC86656C-BF1B-2D2B-779E-74977CA0808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1CF51B3-47DD-F416-2020-E95FFE818485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D7482323-64EA-F151-3BA1-F842BB947590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C421DD6-6C7E-C8C8-AA0B-E78C4335F04A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E69EB48-0A11-E96B-13AD-56C06977B12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6FBA56-C876-EED8-3458-6BB5A7D6D86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46BC873-E2FA-472C-FF03-CB884CEDA6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82F76BB-D859-DABE-90EF-D06120539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4C39365-1952-5F9D-2904-43D222061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DBD0385-95C4-8F2B-7A32-B8F4C14ED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E763A85-E6BA-0430-7567-578B5015C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9E475F8-DACA-1EB7-F0D7-BB926024D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AF043E-C0D6-5776-6711-E8A8CD035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25F0030-0F69-3BF5-E6D9-5D6974977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185C231-F906-38C4-9A11-1D90A554D680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1F5127-33EB-AD44-B9E9-E4928D097F0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2BB63B-BE74-5D3A-4937-E0CC6EE42C5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B0F2D2-DC22-2ACB-BCD2-28211F424D8B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181E5A-BA13-9A07-47E1-478BB105DD2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73461A-9343-56D0-87CD-E1877FC5B8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F18432D-73C4-DFC6-4759-AA8E506EA6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829CC3E-5B4C-1D45-338A-EAFAA31A6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5F312114-0027-31DD-5A43-82720920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0D94264-137E-FA30-0267-136A5DB67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FB91882-7C50-2356-B8FC-4B436DBD1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2D433E2-F940-8DD9-530C-18F5BF4914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B7E7651-29D0-EEDB-B1DA-C28E0AE3A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96631F03-0457-A3FC-7B3F-DA8C6ECC6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019778B8-5297-0D70-CD28-EA7B36911F4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7121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420488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2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3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4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0957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A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8}}</a:t>
                      </a:r>
                      <a:endParaRPr kumimoji="0" lang="en-US" sz="10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313126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2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3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{{COA4}}</a:t>
                      </a: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4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5B799-E76B-B8C4-A607-C321ADE30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4456E9-32DE-73F4-A8FF-E8955F0BF5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164ECE89-724B-251C-9756-DE465FFF56B3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8FC7E639-8340-5868-3176-206C85EDA10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A4D73D4F-D0A4-C1F9-F677-F33F10F235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2EB0752-EC0A-C104-B127-86A219A437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12BDCAD-50A4-65DD-2C01-6EB073389C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FE29550-601A-6C98-34FE-824B3F045FC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E6A5DC69-F80E-211A-BC71-041ACA295F6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DB46E377-760E-0101-824B-866BF66F37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47586BC-2991-0BBF-C8FA-85EEAE04DC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729F59BB-EDD4-9733-EB49-BCF3D5FF668C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69A8E766-E869-BB6F-2A8C-2134E0FAEA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E9F610D-05A9-B3B6-71E6-43183BFE1F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6A811878-11CC-8190-AC78-52BCE5EC8BF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A72F5B09-6D45-245F-CF6F-440D5128E9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7997AA20-47BD-58A9-DB91-3167F3231A7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1D667157-02C6-6A03-3617-4F949FF3C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718322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1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S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a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</a:t>
                      </a: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StatusupdateUC3CS}}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3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S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4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6B3570F8-0B43-5F37-9FED-733B24F39EDB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F2DEC81-CF3B-14BF-D9D8-7A4B36230D4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DFAE28E1-B624-E295-1806-1E6D752F1A7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5841D4-2A11-A2B7-F3AA-F0BF5DF2A71C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AB04BE80-15B9-02DE-3A31-41122F31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Customer Succes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89F8064-828F-CFE5-81AA-B912E40F161F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EA169-B104-91DA-574E-A0AC6CDE0AF8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4F2D94-954B-BB19-38BC-FDC7C9E49015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5824D7-E27E-36DE-43CF-2FCE4658E6F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4E9E3-DA54-0A3D-B297-4883DC7BFC59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DDD64C-D4C6-72A8-3903-BCA93ADDAC56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DD9054-1BDE-6455-6A38-F8FEB18CE6A2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77060D-E837-E943-407D-30F0EA7E00DF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4DE004-4963-B349-EF2A-69E0BABD0DC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B215AAB-BC4E-0CDD-D0C0-ABEA281187D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831F125-7C60-4CE3-DF5F-D757F61F0B3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FA1F0B16-E875-5CB4-C81A-71A38FB3052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377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83930-AE49-5FC2-D654-305DF0016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A68EE6-2FC5-6A9E-392B-17E2EB2F8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CD60743C-2338-A6F8-542A-9EC4B76FF5BF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E3C30A2F-56A5-21D3-81FA-B469D670BA98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4295154A-A1CE-B9EE-127B-3D65B5D075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B612F9B7-63B3-5AD4-0F49-2BF86F1AC7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FCE4F74C-2EA5-A9AA-0FB8-706525FF5D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713B12C-1CC6-C82C-2B88-DEBF66E0442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682CBB2-5011-0ED2-0DFE-7EF49F76DDD6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8ED510F4-EF45-D4AA-C767-D7D7750884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C1B0EE27-7072-A466-1624-9F8EB90955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BD2C992-AA45-EA92-5F8B-179CE61BFFDE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87937A1-2067-6451-95A3-635CF68C58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D30CB203-9650-5FE3-0D50-7FD950E1F9D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A4DA8793-78AF-CEBB-9227-685D7AEEF30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00DC979-7B51-816E-2AAC-008EEE3CF4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274F7D3C-C442-87EB-988A-64DE5461B65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BD3181A8-0A3F-3965-7B7C-EAAED8CC4B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74312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F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1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F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F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3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F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F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F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FA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F4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8E7BCD3C-2844-94D2-8004-05E5CD4C6DE1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C14CC12-9353-3856-7222-80A273FBCDA2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3579E1B0-561A-DF5D-8B36-D4B6A6CB8AF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75D36F-0FDC-0A6F-996E-880AB506EAFB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526A5A3-1054-CD59-CC31-95135D865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Fin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50749E-8D26-5ED5-56F6-585394FB035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E6B824-D390-74AB-F7A2-6AFE0FDE273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A71A7D-0115-4485-3CF4-95E7F8B56C3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B980C4-15FB-DEE2-F9B7-B73F2EFAE24A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6EF967-B31C-3080-BD75-1CBF0BD57D9F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C873CF-FE35-7032-7B49-4319BB9E42B5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4949C-EC75-AFC4-B791-06D1661BDE2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682094-426C-FBB1-18E2-EBD4A7874415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64FCE5-FFDB-A841-8751-3B96BB0F4AD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2859FD-D943-4298-8BBD-A8079551E29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A4E6573-3BD1-8E40-663E-D988210DC2D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1A91F9E1-211C-1171-0C31-847E827AB9D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541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2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3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3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14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16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1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24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2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3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4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0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8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9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48165AA7-FCD4-45E8-91C2-2E8798F7DA7A}">
  <ds:schemaRefs/>
</ds:datastoreItem>
</file>

<file path=customXml/itemProps10.xml><?xml version="1.0" encoding="utf-8"?>
<ds:datastoreItem xmlns:ds="http://schemas.openxmlformats.org/officeDocument/2006/customXml" ds:itemID="{BE35CB75-D316-A442-AF6F-E30B686305AD}">
  <ds:schemaRefs/>
</ds:datastoreItem>
</file>

<file path=customXml/itemProps11.xml><?xml version="1.0" encoding="utf-8"?>
<ds:datastoreItem xmlns:ds="http://schemas.openxmlformats.org/officeDocument/2006/customXml" ds:itemID="{5205743A-69BE-4083-94E2-7B4DB7E3C7E8}">
  <ds:schemaRefs/>
</ds:datastoreItem>
</file>

<file path=customXml/itemProps12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2346D7F6-9001-43CB-BA55-744322C55379}">
  <ds:schemaRefs/>
</ds:datastoreItem>
</file>

<file path=customXml/itemProps14.xml><?xml version="1.0" encoding="utf-8"?>
<ds:datastoreItem xmlns:ds="http://schemas.openxmlformats.org/officeDocument/2006/customXml" ds:itemID="{63FADC4E-365B-4554-8E59-C720A861D5CA}">
  <ds:schemaRefs/>
</ds:datastoreItem>
</file>

<file path=customXml/itemProps15.xml><?xml version="1.0" encoding="utf-8"?>
<ds:datastoreItem xmlns:ds="http://schemas.openxmlformats.org/officeDocument/2006/customXml" ds:itemID="{DAADC99B-5A83-456A-8BCD-707A23A28C1F}">
  <ds:schemaRefs/>
</ds:datastoreItem>
</file>

<file path=customXml/itemProps16.xml><?xml version="1.0" encoding="utf-8"?>
<ds:datastoreItem xmlns:ds="http://schemas.openxmlformats.org/officeDocument/2006/customXml" ds:itemID="{C678E196-AE5D-4AB0-B3F0-0D6FA84851B1}">
  <ds:schemaRefs/>
</ds:datastoreItem>
</file>

<file path=customXml/itemProps17.xml><?xml version="1.0" encoding="utf-8"?>
<ds:datastoreItem xmlns:ds="http://schemas.openxmlformats.org/officeDocument/2006/customXml" ds:itemID="{D06AD3D1-7FF9-4536-AD60-A17870F90738}">
  <ds:schemaRefs/>
</ds:datastoreItem>
</file>

<file path=customXml/itemProps18.xml><?xml version="1.0" encoding="utf-8"?>
<ds:datastoreItem xmlns:ds="http://schemas.openxmlformats.org/officeDocument/2006/customXml" ds:itemID="{DF651907-6C10-4999-BBD5-6BFD17F65FC4}">
  <ds:schemaRefs/>
</ds:datastoreItem>
</file>

<file path=customXml/itemProps19.xml><?xml version="1.0" encoding="utf-8"?>
<ds:datastoreItem xmlns:ds="http://schemas.openxmlformats.org/officeDocument/2006/customXml" ds:itemID="{98EE72E3-5203-4D39-A131-E9DD8A16EDC4}">
  <ds:schemaRefs/>
</ds:datastoreItem>
</file>

<file path=customXml/itemProps2.xml><?xml version="1.0" encoding="utf-8"?>
<ds:datastoreItem xmlns:ds="http://schemas.openxmlformats.org/officeDocument/2006/customXml" ds:itemID="{3B62FFE9-ED73-4F57-B7FD-1898883AC30C}">
  <ds:schemaRefs/>
</ds:datastoreItem>
</file>

<file path=customXml/itemProps20.xml><?xml version="1.0" encoding="utf-8"?>
<ds:datastoreItem xmlns:ds="http://schemas.openxmlformats.org/officeDocument/2006/customXml" ds:itemID="{D6037B97-3794-423A-803A-B94879121092}">
  <ds:schemaRefs/>
</ds:datastoreItem>
</file>

<file path=customXml/itemProps21.xml><?xml version="1.0" encoding="utf-8"?>
<ds:datastoreItem xmlns:ds="http://schemas.openxmlformats.org/officeDocument/2006/customXml" ds:itemID="{E1E2A403-39C3-4FC8-B841-41CD46EF1E37}">
  <ds:schemaRefs/>
</ds:datastoreItem>
</file>

<file path=customXml/itemProps22.xml><?xml version="1.0" encoding="utf-8"?>
<ds:datastoreItem xmlns:ds="http://schemas.openxmlformats.org/officeDocument/2006/customXml" ds:itemID="{034DD3E1-2858-4C70-BC3A-61FB10763B47}">
  <ds:schemaRefs/>
</ds:datastoreItem>
</file>

<file path=customXml/itemProps23.xml><?xml version="1.0" encoding="utf-8"?>
<ds:datastoreItem xmlns:ds="http://schemas.openxmlformats.org/officeDocument/2006/customXml" ds:itemID="{CC49FFC8-2FF3-4057-96F0-3BCD1A4F0351}">
  <ds:schemaRefs/>
</ds:datastoreItem>
</file>

<file path=customXml/itemProps24.xml><?xml version="1.0" encoding="utf-8"?>
<ds:datastoreItem xmlns:ds="http://schemas.openxmlformats.org/officeDocument/2006/customXml" ds:itemID="{CD69D8E4-3079-0947-A87B-18CDAB899542}">
  <ds:schemaRefs/>
</ds:datastoreItem>
</file>

<file path=customXml/itemProps25.xml><?xml version="1.0" encoding="utf-8"?>
<ds:datastoreItem xmlns:ds="http://schemas.openxmlformats.org/officeDocument/2006/customXml" ds:itemID="{20AD2FA6-6913-43F7-86DE-8AF1545F9903}">
  <ds:schemaRefs/>
</ds:datastoreItem>
</file>

<file path=customXml/itemProps26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7.xml><?xml version="1.0" encoding="utf-8"?>
<ds:datastoreItem xmlns:ds="http://schemas.openxmlformats.org/officeDocument/2006/customXml" ds:itemID="{EA0EFD7B-A280-45FB-AEC3-B703B28210D9}">
  <ds:schemaRefs/>
</ds:datastoreItem>
</file>

<file path=customXml/itemProps28.xml><?xml version="1.0" encoding="utf-8"?>
<ds:datastoreItem xmlns:ds="http://schemas.openxmlformats.org/officeDocument/2006/customXml" ds:itemID="{80CA586D-470E-4965-80EA-F4B9D379E73D}">
  <ds:schemaRefs/>
</ds:datastoreItem>
</file>

<file path=customXml/itemProps29.xml><?xml version="1.0" encoding="utf-8"?>
<ds:datastoreItem xmlns:ds="http://schemas.openxmlformats.org/officeDocument/2006/customXml" ds:itemID="{1EC17535-8D28-4922-81E0-ECD6F4BFCC98}">
  <ds:schemaRefs/>
</ds:datastoreItem>
</file>

<file path=customXml/itemProps3.xml><?xml version="1.0" encoding="utf-8"?>
<ds:datastoreItem xmlns:ds="http://schemas.openxmlformats.org/officeDocument/2006/customXml" ds:itemID="{8682EF99-B695-484F-8968-7BFAD92BDA4A}">
  <ds:schemaRefs/>
</ds:datastoreItem>
</file>

<file path=customXml/itemProps30.xml><?xml version="1.0" encoding="utf-8"?>
<ds:datastoreItem xmlns:ds="http://schemas.openxmlformats.org/officeDocument/2006/customXml" ds:itemID="{118DC9FA-6E7A-134A-A4CB-DB7E25529BCD}">
  <ds:schemaRefs/>
</ds:datastoreItem>
</file>

<file path=customXml/itemProps31.xml><?xml version="1.0" encoding="utf-8"?>
<ds:datastoreItem xmlns:ds="http://schemas.openxmlformats.org/officeDocument/2006/customXml" ds:itemID="{FB378D73-682D-4B5C-B045-A467836EDC7E}">
  <ds:schemaRefs/>
</ds:datastoreItem>
</file>

<file path=customXml/itemProps32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3.xml><?xml version="1.0" encoding="utf-8"?>
<ds:datastoreItem xmlns:ds="http://schemas.openxmlformats.org/officeDocument/2006/customXml" ds:itemID="{623ADE88-F3B4-4857-B6D7-BE3D1452E97C}">
  <ds:schemaRefs/>
</ds:datastoreItem>
</file>

<file path=customXml/itemProps34.xml><?xml version="1.0" encoding="utf-8"?>
<ds:datastoreItem xmlns:ds="http://schemas.openxmlformats.org/officeDocument/2006/customXml" ds:itemID="{47E12206-FAC1-4A56-A73A-215CACDF02F8}">
  <ds:schemaRefs/>
</ds:datastoreItem>
</file>

<file path=customXml/itemProps35.xml><?xml version="1.0" encoding="utf-8"?>
<ds:datastoreItem xmlns:ds="http://schemas.openxmlformats.org/officeDocument/2006/customXml" ds:itemID="{935C6D9D-19E8-4631-A552-DB446407D2A4}">
  <ds:schemaRefs/>
</ds:datastoreItem>
</file>

<file path=customXml/itemProps36.xml><?xml version="1.0" encoding="utf-8"?>
<ds:datastoreItem xmlns:ds="http://schemas.openxmlformats.org/officeDocument/2006/customXml" ds:itemID="{94BD63B6-D21E-46C4-815E-3B295ED02A9C}">
  <ds:schemaRefs/>
</ds:datastoreItem>
</file>

<file path=customXml/itemProps37.xml><?xml version="1.0" encoding="utf-8"?>
<ds:datastoreItem xmlns:ds="http://schemas.openxmlformats.org/officeDocument/2006/customXml" ds:itemID="{23FA4614-B246-4ED4-A39C-2DEE012E4E41}">
  <ds:schemaRefs/>
</ds:datastoreItem>
</file>

<file path=customXml/itemProps38.xml><?xml version="1.0" encoding="utf-8"?>
<ds:datastoreItem xmlns:ds="http://schemas.openxmlformats.org/officeDocument/2006/customXml" ds:itemID="{0EB72D09-D760-46C8-9C95-8879EFB64293}">
  <ds:schemaRefs/>
</ds:datastoreItem>
</file>

<file path=customXml/itemProps39.xml><?xml version="1.0" encoding="utf-8"?>
<ds:datastoreItem xmlns:ds="http://schemas.openxmlformats.org/officeDocument/2006/customXml" ds:itemID="{F7A688B5-CEE6-4F55-B294-130EFC5DB101}">
  <ds:schemaRefs/>
</ds:datastoreItem>
</file>

<file path=customXml/itemProps4.xml><?xml version="1.0" encoding="utf-8"?>
<ds:datastoreItem xmlns:ds="http://schemas.openxmlformats.org/officeDocument/2006/customXml" ds:itemID="{BC5403FE-05BE-4E98-A273-D056C995E512}">
  <ds:schemaRefs/>
</ds:datastoreItem>
</file>

<file path=customXml/itemProps40.xml><?xml version="1.0" encoding="utf-8"?>
<ds:datastoreItem xmlns:ds="http://schemas.openxmlformats.org/officeDocument/2006/customXml" ds:itemID="{53C0C564-F4BC-4CB7-A46F-7534E4F7BCE1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C1482805-839B-4917-A350-F14E209159EB}">
  <ds:schemaRefs/>
</ds:datastoreItem>
</file>

<file path=customXml/itemProps43.xml><?xml version="1.0" encoding="utf-8"?>
<ds:datastoreItem xmlns:ds="http://schemas.openxmlformats.org/officeDocument/2006/customXml" ds:itemID="{184FDB0B-513E-4564-83E3-30C2A67FA462}">
  <ds:schemaRefs/>
</ds:datastoreItem>
</file>

<file path=customXml/itemProps44.xml><?xml version="1.0" encoding="utf-8"?>
<ds:datastoreItem xmlns:ds="http://schemas.openxmlformats.org/officeDocument/2006/customXml" ds:itemID="{AAC26940-3727-49BE-BF62-CC423E64F2BD}">
  <ds:schemaRefs/>
</ds:datastoreItem>
</file>

<file path=customXml/itemProps45.xml><?xml version="1.0" encoding="utf-8"?>
<ds:datastoreItem xmlns:ds="http://schemas.openxmlformats.org/officeDocument/2006/customXml" ds:itemID="{538A7E94-9A75-944B-BB53-DAD192A33F0F}">
  <ds:schemaRefs/>
</ds:datastoreItem>
</file>

<file path=customXml/itemProps46.xml><?xml version="1.0" encoding="utf-8"?>
<ds:datastoreItem xmlns:ds="http://schemas.openxmlformats.org/officeDocument/2006/customXml" ds:itemID="{C2AC838F-3192-4042-96C7-6D081523F5A1}">
  <ds:schemaRefs/>
</ds:datastoreItem>
</file>

<file path=customXml/itemProps47.xml><?xml version="1.0" encoding="utf-8"?>
<ds:datastoreItem xmlns:ds="http://schemas.openxmlformats.org/officeDocument/2006/customXml" ds:itemID="{475AB362-7E2C-4295-A530-7B284247BFC6}">
  <ds:schemaRefs/>
</ds:datastoreItem>
</file>

<file path=customXml/itemProps48.xml><?xml version="1.0" encoding="utf-8"?>
<ds:datastoreItem xmlns:ds="http://schemas.openxmlformats.org/officeDocument/2006/customXml" ds:itemID="{92690E7D-4F9F-4E12-9E4E-BAEC04D5A7CC}">
  <ds:schemaRefs/>
</ds:datastoreItem>
</file>

<file path=customXml/itemProps49.xml><?xml version="1.0" encoding="utf-8"?>
<ds:datastoreItem xmlns:ds="http://schemas.openxmlformats.org/officeDocument/2006/customXml" ds:itemID="{7EE19871-72D1-4A79-AC35-D7B297494921}">
  <ds:schemaRefs/>
</ds:datastoreItem>
</file>

<file path=customXml/itemProps5.xml><?xml version="1.0" encoding="utf-8"?>
<ds:datastoreItem xmlns:ds="http://schemas.openxmlformats.org/officeDocument/2006/customXml" ds:itemID="{7A474179-D5E4-437A-B70C-9919B93CA02F}">
  <ds:schemaRefs/>
</ds:datastoreItem>
</file>

<file path=customXml/itemProps50.xml><?xml version="1.0" encoding="utf-8"?>
<ds:datastoreItem xmlns:ds="http://schemas.openxmlformats.org/officeDocument/2006/customXml" ds:itemID="{12438972-7D18-4481-AF51-532E67A63E1E}">
  <ds:schemaRefs/>
</ds:datastoreItem>
</file>

<file path=customXml/itemProps51.xml><?xml version="1.0" encoding="utf-8"?>
<ds:datastoreItem xmlns:ds="http://schemas.openxmlformats.org/officeDocument/2006/customXml" ds:itemID="{D505826A-FD3B-4FAC-9437-FB4AF9F44F1B}">
  <ds:schemaRefs/>
</ds:datastoreItem>
</file>

<file path=customXml/itemProps6.xml><?xml version="1.0" encoding="utf-8"?>
<ds:datastoreItem xmlns:ds="http://schemas.openxmlformats.org/officeDocument/2006/customXml" ds:itemID="{793AE96A-37D6-4971-A9A5-8EA3F2B2BD93}">
  <ds:schemaRefs/>
</ds:datastoreItem>
</file>

<file path=customXml/itemProps7.xml><?xml version="1.0" encoding="utf-8"?>
<ds:datastoreItem xmlns:ds="http://schemas.openxmlformats.org/officeDocument/2006/customXml" ds:itemID="{6638E641-279B-4AC7-A8AC-1DE9953C4894}">
  <ds:schemaRefs/>
</ds:datastoreItem>
</file>

<file path=customXml/itemProps8.xml><?xml version="1.0" encoding="utf-8"?>
<ds:datastoreItem xmlns:ds="http://schemas.openxmlformats.org/officeDocument/2006/customXml" ds:itemID="{626BBCBB-1894-4E66-BA48-9E91CE3ACBA0}">
  <ds:schemaRefs/>
</ds:datastoreItem>
</file>

<file path=customXml/itemProps9.xml><?xml version="1.0" encoding="utf-8"?>
<ds:datastoreItem xmlns:ds="http://schemas.openxmlformats.org/officeDocument/2006/customXml" ds:itemID="{9C3868F0-118E-4F4D-99EC-60B093FD1E00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5677</Words>
  <Application>Microsoft Macintosh PowerPoint</Application>
  <PresentationFormat>Benutzerdefiniert</PresentationFormat>
  <Paragraphs>1525</Paragraphs>
  <Slides>38</Slides>
  <Notes>3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60" baseType="lpstr">
      <vt:lpstr>Arial</vt:lpstr>
      <vt:lpstr>Wingdings</vt:lpstr>
      <vt:lpstr>Symbol</vt:lpstr>
      <vt:lpstr>Roboto</vt:lpstr>
      <vt:lpstr>Wingdings,Sans-Serif</vt:lpstr>
      <vt:lpstr>Calibri</vt:lpstr>
      <vt:lpstr>Graphik Light</vt:lpstr>
      <vt:lpstr>Consolas</vt:lpstr>
      <vt:lpstr>72 Brand Medium</vt:lpstr>
      <vt:lpstr>Wingdings</vt:lpstr>
      <vt:lpstr>Arial Unicode MS</vt:lpstr>
      <vt:lpstr>72</vt:lpstr>
      <vt:lpstr>Segoe UI</vt:lpstr>
      <vt:lpstr>72 Bold</vt:lpstr>
      <vt:lpstr>Arial,Sans-Serif</vt:lpstr>
      <vt:lpstr>72 Brand</vt:lpstr>
      <vt:lpstr>Courier New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1. CDP Business Use Cases | Customer Success – Status &amp; Use Case Heatmap</vt:lpstr>
      <vt:lpstr>1. CDP Business Use Cases | Finance – Status &amp; Use Case Heatmap</vt:lpstr>
      <vt:lpstr>2. CDP Foundational Use Cases | Status Update (1/2)</vt:lpstr>
      <vt:lpstr>2. CDP Foundational Use Cases | Status Update (2/2)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68</cp:revision>
  <dcterms:created xsi:type="dcterms:W3CDTF">2024-09-16T15:04:13Z</dcterms:created>
  <dcterms:modified xsi:type="dcterms:W3CDTF">2026-01-31T16:09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